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mp4" ContentType="video/mp4"/>
  <Default Extension="rels" ContentType="application/vnd.openxmlformats-package.relationship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media/image3.svg" ContentType="image/svg+xml"/>
  <Override PartName="/ppt/media/image5.svg" ContentType="image/svg+xml"/>
  <Override PartName="/ppt/media/image7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3"/>
    <p:sldMasterId id="2147483673" r:id="rId4"/>
    <p:sldMasterId id="2147483685" r:id="rId5"/>
  </p:sldMasterIdLst>
  <p:notesMasterIdLst>
    <p:notesMasterId r:id="rId8"/>
  </p:notesMasterIdLst>
  <p:sldIdLst>
    <p:sldId id="385" r:id="rId6"/>
    <p:sldId id="387" r:id="rId7"/>
    <p:sldId id="389" r:id="rId9"/>
    <p:sldId id="390" r:id="rId10"/>
    <p:sldId id="392" r:id="rId11"/>
    <p:sldId id="394" r:id="rId12"/>
    <p:sldId id="899" r:id="rId13"/>
    <p:sldId id="396" r:id="rId1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8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0" Type="http://schemas.openxmlformats.org/officeDocument/2006/relationships/customXml" Target="../customXml/item3.xml"/><Relationship Id="rId2" Type="http://schemas.openxmlformats.org/officeDocument/2006/relationships/theme" Target="theme/theme1.xml"/><Relationship Id="rId19" Type="http://schemas.openxmlformats.org/officeDocument/2006/relationships/customXml" Target="../customXml/item2.xml"/><Relationship Id="rId18" Type="http://schemas.openxmlformats.org/officeDocument/2006/relationships/customXml" Target="../customXml/item1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ero Light" panose="00000300000000000000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ero Light" panose="00000300000000000000" pitchFamily="50" charset="-52"/>
              </a:defRPr>
            </a:lvl1pPr>
          </a:lstStyle>
          <a:p>
            <a:fld id="{313B7AEA-8B26-4E04-9122-B5CA5EC44A45}" type="datetimeFigureOut">
              <a:rPr lang="ru-RU" smtClean="0"/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endParaRPr lang="ru-RU" dirty="0"/>
          </a:p>
          <a:p>
            <a:pPr lvl="3"/>
            <a:r>
              <a:rPr lang="ru-RU" dirty="0"/>
              <a:t>Четвертый уровень</a:t>
            </a:r>
            <a:endParaRPr lang="ru-RU" dirty="0"/>
          </a:p>
          <a:p>
            <a:pPr lvl="4"/>
            <a:r>
              <a:rPr lang="ru-RU" dirty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ero Light" panose="00000300000000000000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ero Light" panose="00000300000000000000" pitchFamily="50" charset="-52"/>
              </a:defRPr>
            </a:lvl1pPr>
          </a:lstStyle>
          <a:p>
            <a:fld id="{A353B885-C8C7-4BB5-8EA3-776DED18494B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Hero Light" panose="00000300000000000000" pitchFamily="50" charset="-5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Hero Light" panose="00000300000000000000" pitchFamily="50" charset="-5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Hero Light" panose="00000300000000000000" pitchFamily="50" charset="-5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Hero Light" panose="00000300000000000000" pitchFamily="50" charset="-5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Hero Light" panose="00000300000000000000" pitchFamily="50" charset="-5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4258BC8-2F1F-BE4B-83FA-71165AF1B3E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8" Type="http://schemas.openxmlformats.org/officeDocument/2006/relationships/tags" Target="../tags/tag4.xml"/><Relationship Id="rId7" Type="http://schemas.openxmlformats.org/officeDocument/2006/relationships/image" Target="../media/image8.emf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10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0" Type="http://schemas.openxmlformats.org/officeDocument/2006/relationships/vmlDrawing" Target="../drawings/vmlDrawing1.vm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4" Type="http://schemas.openxmlformats.org/officeDocument/2006/relationships/image" Target="../media/image7.svg"/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1 Символ «Ростелеком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9896" y="2373878"/>
            <a:ext cx="1272208" cy="2110245"/>
          </a:xfrm>
          <a:prstGeom prst="rect">
            <a:avLst/>
          </a:prstGeom>
        </p:spPr>
      </p:pic>
    </p:spTree>
  </p:cSld>
  <p:clrMapOvr>
    <a:masterClrMapping/>
  </p:clrMapOvr>
  <p:transition spd="med"/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12">
    <p:bg>
      <p:bgPr>
        <a:solidFill>
          <a:srgbClr val="FFBE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1892" y="6202934"/>
            <a:ext cx="2134821" cy="487581"/>
          </a:xfrm>
          <a:prstGeom prst="rect">
            <a:avLst/>
          </a:prstGeom>
        </p:spPr>
      </p:pic>
      <p:sp>
        <p:nvSpPr>
          <p:cNvPr id="6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598992" y="310797"/>
            <a:ext cx="10914497" cy="440101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9335" b="1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Введите название презентации</a:t>
            </a:r>
            <a:endParaRPr lang="ru-RU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3343319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ТК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9600" y="427061"/>
            <a:ext cx="9347200" cy="58608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aseline="0">
                <a:solidFill>
                  <a:schemeClr val="accent1"/>
                </a:solidFill>
                <a:latin typeface="Hero Light" panose="00000300000000000000" pitchFamily="50" charset="-52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мысловой заголовок</a:t>
            </a:r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>
                <a:latin typeface="Hero Light" panose="00000300000000000000" pitchFamily="50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3DD1F9D4-C1A5-5847-B9D5-8C7D76FE55A1}" type="datetimeFigureOut">
              <a:rPr lang="ru-RU" smtClean="0"/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06021A07-E9D9-9D42-BD2F-72DC9091036E}" type="slidenum">
              <a:rPr lang="ru-RU" smtClean="0"/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родажа. Презентация решения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203200" y="177800"/>
            <a:ext cx="10261600" cy="609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ru-RU" sz="3200" b="1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3DD1F9D4-C1A5-5847-B9D5-8C7D76FE55A1}" type="datetimeFigureOut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06021A07-E9D9-9D42-BD2F-72DC9091036E}" type="slidenum">
              <a:rPr lang="ru-RU" smtClean="0"/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ТК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9600" y="427061"/>
            <a:ext cx="9347200" cy="58608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aseline="0">
                <a:solidFill>
                  <a:schemeClr val="accent1"/>
                </a:solidFill>
                <a:latin typeface="Hero Light" panose="00000300000000000000" pitchFamily="50" charset="-52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мысловой 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ТК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 userDrawn="1"/>
        </p:nvSpPr>
        <p:spPr>
          <a:xfrm>
            <a:off x="0" y="16"/>
            <a:ext cx="12192000" cy="369332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sz="2400" dirty="0">
              <a:latin typeface="Hero Light" panose="00000300000000000000" pitchFamily="50" charset="-52"/>
            </a:endParaRP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058400" y="258541"/>
            <a:ext cx="1692792" cy="840000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9600" y="427061"/>
            <a:ext cx="9347200" cy="58608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aseline="0">
                <a:solidFill>
                  <a:schemeClr val="bg1"/>
                </a:solidFill>
                <a:latin typeface="Hero Light" panose="00000300000000000000" pitchFamily="50" charset="-52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мысловой 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335366" y="1024853"/>
            <a:ext cx="11523132" cy="5290140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Hero Light" panose="00000300000000000000" pitchFamily="50" charset="-52"/>
              </a:defRPr>
            </a:lvl1pPr>
            <a:lvl2pPr>
              <a:defRPr sz="1100">
                <a:latin typeface="Hero Light" panose="00000300000000000000" pitchFamily="50" charset="-52"/>
              </a:defRPr>
            </a:lvl2pPr>
            <a:lvl3pPr>
              <a:defRPr sz="1100">
                <a:latin typeface="Hero Light" panose="00000300000000000000" pitchFamily="50" charset="-52"/>
              </a:defRPr>
            </a:lvl3pPr>
            <a:lvl4pPr>
              <a:defRPr sz="1100">
                <a:latin typeface="Hero Light" panose="00000300000000000000" pitchFamily="50" charset="-52"/>
              </a:defRPr>
            </a:lvl4pPr>
            <a:lvl5pPr>
              <a:defRPr sz="1100">
                <a:latin typeface="Hero Light" panose="00000300000000000000" pitchFamily="50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endParaRPr lang="ru-RU" dirty="0"/>
          </a:p>
          <a:p>
            <a:pPr lvl="3"/>
            <a:r>
              <a:rPr lang="ru-RU" dirty="0"/>
              <a:t>Четвертый уровень</a:t>
            </a:r>
            <a:endParaRPr lang="ru-RU" dirty="0"/>
          </a:p>
          <a:p>
            <a:pPr lvl="4"/>
            <a:r>
              <a:rPr lang="ru-RU" dirty="0"/>
              <a:t>Пятый уровень</a:t>
            </a:r>
            <a:endParaRPr lang="ru-RU" dirty="0"/>
          </a:p>
        </p:txBody>
      </p:sp>
      <p:sp>
        <p:nvSpPr>
          <p:cNvPr id="6" name="Заголовок 24"/>
          <p:cNvSpPr>
            <a:spLocks noGrp="1"/>
          </p:cNvSpPr>
          <p:nvPr>
            <p:ph type="title"/>
          </p:nvPr>
        </p:nvSpPr>
        <p:spPr>
          <a:xfrm>
            <a:off x="334435" y="441691"/>
            <a:ext cx="9986036" cy="299011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ru-RU" dirty="0"/>
          </a:p>
        </p:txBody>
      </p:sp>
      <p:sp>
        <p:nvSpPr>
          <p:cNvPr id="8" name="Нижний колонтитул 27"/>
          <p:cNvSpPr>
            <a:spLocks noGrp="1"/>
          </p:cNvSpPr>
          <p:nvPr>
            <p:ph type="ftr" sz="quarter" idx="11"/>
          </p:nvPr>
        </p:nvSpPr>
        <p:spPr>
          <a:xfrm>
            <a:off x="334435" y="165106"/>
            <a:ext cx="9986036" cy="191555"/>
          </a:xfrm>
          <a:prstGeom prst="rect">
            <a:avLst/>
          </a:prstGeom>
        </p:spPr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Производственная Система «Ростелекома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1376591" y="6398235"/>
            <a:ext cx="480053" cy="288000"/>
          </a:xfrm>
          <a:prstGeom prst="rect">
            <a:avLst/>
          </a:prstGeom>
        </p:spPr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D32B8EB5-862F-4244-8B80-E7D48FD2594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448489" y="144781"/>
            <a:ext cx="1494316" cy="679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Дата 3"/>
          <p:cNvSpPr txBox="1"/>
          <p:nvPr userDrawn="1"/>
        </p:nvSpPr>
        <p:spPr>
          <a:xfrm>
            <a:off x="334438" y="6398235"/>
            <a:ext cx="1537097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prstClr val="black">
                    <a:tint val="75000"/>
                  </a:prstClr>
                </a:solidFill>
                <a:latin typeface="Hero Light" panose="00000300000000000000" pitchFamily="50" charset="-52"/>
              </a:rPr>
              <a:t>РОСТЕЛЕКОМ</a:t>
            </a:r>
            <a:endParaRPr lang="ru-RU" sz="1000" b="1" dirty="0">
              <a:solidFill>
                <a:prstClr val="black">
                  <a:tint val="75000"/>
                </a:prstClr>
              </a:solidFill>
              <a:latin typeface="Hero Light" panose="00000300000000000000" pitchFamily="50" charset="-52"/>
            </a:endParaRPr>
          </a:p>
        </p:txBody>
      </p:sp>
      <p:sp>
        <p:nvSpPr>
          <p:cNvPr id="12" name="Дата 3"/>
          <p:cNvSpPr txBox="1"/>
          <p:nvPr userDrawn="1"/>
        </p:nvSpPr>
        <p:spPr>
          <a:xfrm>
            <a:off x="1391484" y="6398235"/>
            <a:ext cx="1537097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Hero Light" panose="00000300000000000000" pitchFamily="50" charset="-52"/>
              </a:rPr>
              <a:t>www.rt.ru</a:t>
            </a:r>
            <a:endParaRPr lang="ru-RU" sz="800" dirty="0">
              <a:solidFill>
                <a:prstClr val="black">
                  <a:tint val="75000"/>
                </a:prstClr>
              </a:solidFill>
              <a:latin typeface="Hero Light" panose="00000300000000000000" pitchFamily="50" charset="-52"/>
            </a:endParaRPr>
          </a:p>
        </p:txBody>
      </p:sp>
      <p:sp>
        <p:nvSpPr>
          <p:cNvPr id="13" name="Дата 3"/>
          <p:cNvSpPr txBox="1"/>
          <p:nvPr userDrawn="1"/>
        </p:nvSpPr>
        <p:spPr>
          <a:xfrm>
            <a:off x="2158641" y="6398235"/>
            <a:ext cx="1537097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Hero Light" panose="00000300000000000000" pitchFamily="50" charset="-52"/>
              </a:rPr>
              <a:t>www.rostelecom.ru</a:t>
            </a:r>
            <a:endParaRPr lang="ru-RU" sz="800" dirty="0">
              <a:solidFill>
                <a:prstClr val="black">
                  <a:tint val="75000"/>
                </a:prstClr>
              </a:solidFill>
              <a:latin typeface="Hero Light" panose="00000300000000000000" pitchFamily="50" charset="-5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родажа. Презентация решения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203200" y="177800"/>
            <a:ext cx="10261600" cy="609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ru-RU" sz="3200" b="1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3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1"/>
          <p:cNvSpPr>
            <a:spLocks noGrp="1"/>
          </p:cNvSpPr>
          <p:nvPr>
            <p:ph type="pic" sz="quarter" idx="11" hasCustomPrompt="1"/>
          </p:nvPr>
        </p:nvSpPr>
        <p:spPr>
          <a:xfrm>
            <a:off x="5971142" y="0"/>
            <a:ext cx="6224084" cy="68592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-1" fmla="*/ 2235941 w 5005840"/>
              <a:gd name="connsiteY0-2" fmla="*/ 0 h 5143500"/>
              <a:gd name="connsiteX1-3" fmla="*/ 5005840 w 5005840"/>
              <a:gd name="connsiteY1-4" fmla="*/ 0 h 5143500"/>
              <a:gd name="connsiteX2-5" fmla="*/ 5005840 w 5005840"/>
              <a:gd name="connsiteY2-6" fmla="*/ 5143500 h 5143500"/>
              <a:gd name="connsiteX3-7" fmla="*/ 0 w 5005840"/>
              <a:gd name="connsiteY3-8" fmla="*/ 5143500 h 5143500"/>
              <a:gd name="connsiteX4-9" fmla="*/ 2235941 w 5005840"/>
              <a:gd name="connsiteY4-10" fmla="*/ 0 h 5143500"/>
              <a:gd name="connsiteX0-11" fmla="*/ 1882195 w 4652094"/>
              <a:gd name="connsiteY0-12" fmla="*/ 0 h 5143500"/>
              <a:gd name="connsiteX1-13" fmla="*/ 4652094 w 4652094"/>
              <a:gd name="connsiteY1-14" fmla="*/ 0 h 5143500"/>
              <a:gd name="connsiteX2-15" fmla="*/ 4652094 w 4652094"/>
              <a:gd name="connsiteY2-16" fmla="*/ 5143500 h 5143500"/>
              <a:gd name="connsiteX3-17" fmla="*/ 0 w 4652094"/>
              <a:gd name="connsiteY3-18" fmla="*/ 5136825 h 5143500"/>
              <a:gd name="connsiteX4-19" fmla="*/ 1882195 w 4652094"/>
              <a:gd name="connsiteY4-20" fmla="*/ 0 h 5143500"/>
              <a:gd name="connsiteX0-21" fmla="*/ 1839332 w 4609231"/>
              <a:gd name="connsiteY0-22" fmla="*/ 0 h 5167782"/>
              <a:gd name="connsiteX1-23" fmla="*/ 4609231 w 4609231"/>
              <a:gd name="connsiteY1-24" fmla="*/ 0 h 5167782"/>
              <a:gd name="connsiteX2-25" fmla="*/ 4609231 w 4609231"/>
              <a:gd name="connsiteY2-26" fmla="*/ 5143500 h 5167782"/>
              <a:gd name="connsiteX3-27" fmla="*/ 0 w 4609231"/>
              <a:gd name="connsiteY3-28" fmla="*/ 5167782 h 5167782"/>
              <a:gd name="connsiteX4-29" fmla="*/ 1839332 w 4609231"/>
              <a:gd name="connsiteY4-30" fmla="*/ 0 h 5167782"/>
              <a:gd name="connsiteX0-31" fmla="*/ 1886957 w 4656856"/>
              <a:gd name="connsiteY0-32" fmla="*/ 0 h 5146350"/>
              <a:gd name="connsiteX1-33" fmla="*/ 4656856 w 4656856"/>
              <a:gd name="connsiteY1-34" fmla="*/ 0 h 5146350"/>
              <a:gd name="connsiteX2-35" fmla="*/ 4656856 w 4656856"/>
              <a:gd name="connsiteY2-36" fmla="*/ 5143500 h 5146350"/>
              <a:gd name="connsiteX3-37" fmla="*/ 0 w 4656856"/>
              <a:gd name="connsiteY3-38" fmla="*/ 5146350 h 5146350"/>
              <a:gd name="connsiteX4-39" fmla="*/ 1886957 w 4656856"/>
              <a:gd name="connsiteY4-40" fmla="*/ 0 h 5146350"/>
              <a:gd name="connsiteX0-41" fmla="*/ 1883782 w 4656856"/>
              <a:gd name="connsiteY0-42" fmla="*/ 0 h 5149525"/>
              <a:gd name="connsiteX1-43" fmla="*/ 4656856 w 4656856"/>
              <a:gd name="connsiteY1-44" fmla="*/ 3175 h 5149525"/>
              <a:gd name="connsiteX2-45" fmla="*/ 4656856 w 4656856"/>
              <a:gd name="connsiteY2-46" fmla="*/ 5146675 h 5149525"/>
              <a:gd name="connsiteX3-47" fmla="*/ 0 w 4656856"/>
              <a:gd name="connsiteY3-48" fmla="*/ 5149525 h 5149525"/>
              <a:gd name="connsiteX4-49" fmla="*/ 1883782 w 4656856"/>
              <a:gd name="connsiteY4-50" fmla="*/ 0 h 5149525"/>
              <a:gd name="connsiteX0-51" fmla="*/ 1820886 w 4593960"/>
              <a:gd name="connsiteY0-52" fmla="*/ 0 h 5146675"/>
              <a:gd name="connsiteX1-53" fmla="*/ 4593960 w 4593960"/>
              <a:gd name="connsiteY1-54" fmla="*/ 3175 h 5146675"/>
              <a:gd name="connsiteX2-55" fmla="*/ 4593960 w 4593960"/>
              <a:gd name="connsiteY2-56" fmla="*/ 5146675 h 5146675"/>
              <a:gd name="connsiteX3-57" fmla="*/ 0 w 4593960"/>
              <a:gd name="connsiteY3-58" fmla="*/ 5098725 h 5146675"/>
              <a:gd name="connsiteX4-59" fmla="*/ 1820886 w 4593960"/>
              <a:gd name="connsiteY4-60" fmla="*/ 0 h 5146675"/>
              <a:gd name="connsiteX0-61" fmla="*/ 1886201 w 4659275"/>
              <a:gd name="connsiteY0-62" fmla="*/ 0 h 5146675"/>
              <a:gd name="connsiteX1-63" fmla="*/ 4659275 w 4659275"/>
              <a:gd name="connsiteY1-64" fmla="*/ 3175 h 5146675"/>
              <a:gd name="connsiteX2-65" fmla="*/ 4659275 w 4659275"/>
              <a:gd name="connsiteY2-66" fmla="*/ 5146675 h 5146675"/>
              <a:gd name="connsiteX3-67" fmla="*/ 0 w 4659275"/>
              <a:gd name="connsiteY3-68" fmla="*/ 5144687 h 5146675"/>
              <a:gd name="connsiteX4-69" fmla="*/ 1886201 w 4659275"/>
              <a:gd name="connsiteY4-70" fmla="*/ 0 h 5146675"/>
              <a:gd name="connsiteX0-71" fmla="*/ 1886201 w 4659275"/>
              <a:gd name="connsiteY0-72" fmla="*/ 0 h 5144687"/>
              <a:gd name="connsiteX1-73" fmla="*/ 4659275 w 4659275"/>
              <a:gd name="connsiteY1-74" fmla="*/ 3175 h 5144687"/>
              <a:gd name="connsiteX2-75" fmla="*/ 4591542 w 4659275"/>
              <a:gd name="connsiteY2-76" fmla="*/ 5086199 h 5144687"/>
              <a:gd name="connsiteX3-77" fmla="*/ 0 w 4659275"/>
              <a:gd name="connsiteY3-78" fmla="*/ 5144687 h 5144687"/>
              <a:gd name="connsiteX4-79" fmla="*/ 1886201 w 4659275"/>
              <a:gd name="connsiteY4-80" fmla="*/ 0 h 5144687"/>
              <a:gd name="connsiteX0-81" fmla="*/ 1886201 w 4661694"/>
              <a:gd name="connsiteY0-82" fmla="*/ 0 h 5144687"/>
              <a:gd name="connsiteX1-83" fmla="*/ 4659275 w 4661694"/>
              <a:gd name="connsiteY1-84" fmla="*/ 3175 h 5144687"/>
              <a:gd name="connsiteX2-85" fmla="*/ 4661694 w 4661694"/>
              <a:gd name="connsiteY2-86" fmla="*/ 5144256 h 5144687"/>
              <a:gd name="connsiteX3-87" fmla="*/ 0 w 4661694"/>
              <a:gd name="connsiteY3-88" fmla="*/ 5144687 h 5144687"/>
              <a:gd name="connsiteX4-89" fmla="*/ 1886201 w 4661694"/>
              <a:gd name="connsiteY4-90" fmla="*/ 0 h 5144687"/>
              <a:gd name="connsiteX0-91" fmla="*/ 1886201 w 4661694"/>
              <a:gd name="connsiteY0-92" fmla="*/ 0 h 5144687"/>
              <a:gd name="connsiteX1-93" fmla="*/ 4625408 w 4661694"/>
              <a:gd name="connsiteY1-94" fmla="*/ 41880 h 5144687"/>
              <a:gd name="connsiteX2-95" fmla="*/ 4661694 w 4661694"/>
              <a:gd name="connsiteY2-96" fmla="*/ 5144256 h 5144687"/>
              <a:gd name="connsiteX3-97" fmla="*/ 0 w 4661694"/>
              <a:gd name="connsiteY3-98" fmla="*/ 5144687 h 5144687"/>
              <a:gd name="connsiteX4-99" fmla="*/ 1886201 w 4661694"/>
              <a:gd name="connsiteY4-100" fmla="*/ 0 h 5144687"/>
              <a:gd name="connsiteX0-101" fmla="*/ 1886201 w 4661694"/>
              <a:gd name="connsiteY0-102" fmla="*/ 0 h 5144687"/>
              <a:gd name="connsiteX1-103" fmla="*/ 4659275 w 4661694"/>
              <a:gd name="connsiteY1-104" fmla="*/ 3175 h 5144687"/>
              <a:gd name="connsiteX2-105" fmla="*/ 4661694 w 4661694"/>
              <a:gd name="connsiteY2-106" fmla="*/ 5144256 h 5144687"/>
              <a:gd name="connsiteX3-107" fmla="*/ 0 w 4661694"/>
              <a:gd name="connsiteY3-108" fmla="*/ 5144687 h 5144687"/>
              <a:gd name="connsiteX4-109" fmla="*/ 1886201 w 4661694"/>
              <a:gd name="connsiteY4-110" fmla="*/ 0 h 5144687"/>
              <a:gd name="connsiteX0-111" fmla="*/ 1900716 w 4661694"/>
              <a:gd name="connsiteY0-112" fmla="*/ 37949 h 5141512"/>
              <a:gd name="connsiteX1-113" fmla="*/ 4659275 w 4661694"/>
              <a:gd name="connsiteY1-114" fmla="*/ 0 h 5141512"/>
              <a:gd name="connsiteX2-115" fmla="*/ 4661694 w 4661694"/>
              <a:gd name="connsiteY2-116" fmla="*/ 5141081 h 5141512"/>
              <a:gd name="connsiteX3-117" fmla="*/ 0 w 4661694"/>
              <a:gd name="connsiteY3-118" fmla="*/ 5141512 h 5141512"/>
              <a:gd name="connsiteX4-119" fmla="*/ 1900716 w 4661694"/>
              <a:gd name="connsiteY4-120" fmla="*/ 37949 h 5141512"/>
              <a:gd name="connsiteX0-121" fmla="*/ 1886201 w 4661694"/>
              <a:gd name="connsiteY0-122" fmla="*/ 1663 h 5141512"/>
              <a:gd name="connsiteX1-123" fmla="*/ 4659275 w 4661694"/>
              <a:gd name="connsiteY1-124" fmla="*/ 0 h 5141512"/>
              <a:gd name="connsiteX2-125" fmla="*/ 4661694 w 4661694"/>
              <a:gd name="connsiteY2-126" fmla="*/ 5141081 h 5141512"/>
              <a:gd name="connsiteX3-127" fmla="*/ 0 w 4661694"/>
              <a:gd name="connsiteY3-128" fmla="*/ 5141512 h 5141512"/>
              <a:gd name="connsiteX4-129" fmla="*/ 1886201 w 4661694"/>
              <a:gd name="connsiteY4-130" fmla="*/ 1663 h 5141512"/>
              <a:gd name="connsiteX0-131" fmla="*/ 1886201 w 4661694"/>
              <a:gd name="connsiteY0-132" fmla="*/ 1663 h 5141512"/>
              <a:gd name="connsiteX1-133" fmla="*/ 4659275 w 4661694"/>
              <a:gd name="connsiteY1-134" fmla="*/ 0 h 5141512"/>
              <a:gd name="connsiteX2-135" fmla="*/ 4661694 w 4661694"/>
              <a:gd name="connsiteY2-136" fmla="*/ 5141081 h 5141512"/>
              <a:gd name="connsiteX3-137" fmla="*/ 0 w 4661694"/>
              <a:gd name="connsiteY3-138" fmla="*/ 5141512 h 5141512"/>
              <a:gd name="connsiteX4-139" fmla="*/ 1886201 w 4661694"/>
              <a:gd name="connsiteY4-140" fmla="*/ 1663 h 5141512"/>
              <a:gd name="connsiteX0-141" fmla="*/ 1886201 w 4661694"/>
              <a:gd name="connsiteY0-142" fmla="*/ 1663 h 5143462"/>
              <a:gd name="connsiteX1-143" fmla="*/ 4659275 w 4661694"/>
              <a:gd name="connsiteY1-144" fmla="*/ 0 h 5143462"/>
              <a:gd name="connsiteX2-145" fmla="*/ 4661694 w 4661694"/>
              <a:gd name="connsiteY2-146" fmla="*/ 5143462 h 5143462"/>
              <a:gd name="connsiteX3-147" fmla="*/ 0 w 4661694"/>
              <a:gd name="connsiteY3-148" fmla="*/ 5141512 h 5143462"/>
              <a:gd name="connsiteX4-149" fmla="*/ 1886201 w 4661694"/>
              <a:gd name="connsiteY4-150" fmla="*/ 1663 h 5143462"/>
              <a:gd name="connsiteX0-151" fmla="*/ 1886201 w 4661694"/>
              <a:gd name="connsiteY0-152" fmla="*/ 1663 h 5141512"/>
              <a:gd name="connsiteX1-153" fmla="*/ 4659275 w 4661694"/>
              <a:gd name="connsiteY1-154" fmla="*/ 0 h 5141512"/>
              <a:gd name="connsiteX2-155" fmla="*/ 4661694 w 4661694"/>
              <a:gd name="connsiteY2-156" fmla="*/ 5141080 h 5141512"/>
              <a:gd name="connsiteX3-157" fmla="*/ 0 w 4661694"/>
              <a:gd name="connsiteY3-158" fmla="*/ 5141512 h 5141512"/>
              <a:gd name="connsiteX4-159" fmla="*/ 1886201 w 4661694"/>
              <a:gd name="connsiteY4-160" fmla="*/ 1663 h 5141512"/>
              <a:gd name="connsiteX0-161" fmla="*/ 1888582 w 4664075"/>
              <a:gd name="connsiteY0-162" fmla="*/ 1663 h 5141512"/>
              <a:gd name="connsiteX1-163" fmla="*/ 4661656 w 4664075"/>
              <a:gd name="connsiteY1-164" fmla="*/ 0 h 5141512"/>
              <a:gd name="connsiteX2-165" fmla="*/ 4664075 w 4664075"/>
              <a:gd name="connsiteY2-166" fmla="*/ 5141080 h 5141512"/>
              <a:gd name="connsiteX3-167" fmla="*/ 0 w 4664075"/>
              <a:gd name="connsiteY3-168" fmla="*/ 5141512 h 5141512"/>
              <a:gd name="connsiteX4-169" fmla="*/ 1888582 w 4664075"/>
              <a:gd name="connsiteY4-170" fmla="*/ 1663 h 514151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335" b="0"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  <a:endParaRPr lang="ru-RU" dirty="0"/>
          </a:p>
          <a:p>
            <a:endParaRPr lang="ru-RU" dirty="0"/>
          </a:p>
        </p:txBody>
      </p:sp>
      <p:sp>
        <p:nvSpPr>
          <p:cNvPr id="11" name="Прямоугольник 6"/>
          <p:cNvSpPr/>
          <p:nvPr/>
        </p:nvSpPr>
        <p:spPr>
          <a:xfrm>
            <a:off x="1" y="-347"/>
            <a:ext cx="8490759" cy="6857891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-1" fmla="*/ 0 w 6869152"/>
              <a:gd name="connsiteY0-2" fmla="*/ 0 h 6869152"/>
              <a:gd name="connsiteX1-3" fmla="*/ 6869152 w 6869152"/>
              <a:gd name="connsiteY1-4" fmla="*/ 0 h 6869152"/>
              <a:gd name="connsiteX2-5" fmla="*/ 5274528 w 6869152"/>
              <a:gd name="connsiteY2-6" fmla="*/ 6858001 h 6869152"/>
              <a:gd name="connsiteX3-7" fmla="*/ 0 w 6869152"/>
              <a:gd name="connsiteY3-8" fmla="*/ 6869152 h 6869152"/>
              <a:gd name="connsiteX4-9" fmla="*/ 0 w 6869152"/>
              <a:gd name="connsiteY4-10" fmla="*/ 0 h 6869152"/>
              <a:gd name="connsiteX0-11" fmla="*/ 0 w 6869152"/>
              <a:gd name="connsiteY0-12" fmla="*/ 0 h 6869153"/>
              <a:gd name="connsiteX1-13" fmla="*/ 6869152 w 6869152"/>
              <a:gd name="connsiteY1-14" fmla="*/ 0 h 6869153"/>
              <a:gd name="connsiteX2-15" fmla="*/ 4334177 w 6869152"/>
              <a:gd name="connsiteY2-16" fmla="*/ 6869153 h 6869153"/>
              <a:gd name="connsiteX3-17" fmla="*/ 0 w 6869152"/>
              <a:gd name="connsiteY3-18" fmla="*/ 6869152 h 6869153"/>
              <a:gd name="connsiteX4-19" fmla="*/ 0 w 6869152"/>
              <a:gd name="connsiteY4-20" fmla="*/ 0 h 6869153"/>
              <a:gd name="connsiteX0-21" fmla="*/ 0 w 6869152"/>
              <a:gd name="connsiteY0-22" fmla="*/ 0 h 6869152"/>
              <a:gd name="connsiteX1-23" fmla="*/ 6869152 w 6869152"/>
              <a:gd name="connsiteY1-24" fmla="*/ 0 h 6869152"/>
              <a:gd name="connsiteX2-25" fmla="*/ 5371493 w 6869152"/>
              <a:gd name="connsiteY2-26" fmla="*/ 6858002 h 6869152"/>
              <a:gd name="connsiteX3-27" fmla="*/ 0 w 6869152"/>
              <a:gd name="connsiteY3-28" fmla="*/ 6869152 h 6869152"/>
              <a:gd name="connsiteX4-29" fmla="*/ 0 w 6869152"/>
              <a:gd name="connsiteY4-30" fmla="*/ 0 h 6869152"/>
              <a:gd name="connsiteX0-31" fmla="*/ 0 w 7632391"/>
              <a:gd name="connsiteY0-32" fmla="*/ 0 h 6869152"/>
              <a:gd name="connsiteX1-33" fmla="*/ 7632391 w 7632391"/>
              <a:gd name="connsiteY1-34" fmla="*/ 11151 h 6869152"/>
              <a:gd name="connsiteX2-35" fmla="*/ 5371493 w 7632391"/>
              <a:gd name="connsiteY2-36" fmla="*/ 6858002 h 6869152"/>
              <a:gd name="connsiteX3-37" fmla="*/ 0 w 7632391"/>
              <a:gd name="connsiteY3-38" fmla="*/ 6869152 h 6869152"/>
              <a:gd name="connsiteX4-39" fmla="*/ 0 w 7632391"/>
              <a:gd name="connsiteY4-40" fmla="*/ 0 h 6869152"/>
              <a:gd name="connsiteX0-41" fmla="*/ 0 w 7629198"/>
              <a:gd name="connsiteY0-42" fmla="*/ 0 h 6869152"/>
              <a:gd name="connsiteX1-43" fmla="*/ 7629198 w 7629198"/>
              <a:gd name="connsiteY1-44" fmla="*/ 21754 h 6869152"/>
              <a:gd name="connsiteX2-45" fmla="*/ 5371493 w 7629198"/>
              <a:gd name="connsiteY2-46" fmla="*/ 6858002 h 6869152"/>
              <a:gd name="connsiteX3-47" fmla="*/ 0 w 7629198"/>
              <a:gd name="connsiteY3-48" fmla="*/ 6869152 h 6869152"/>
              <a:gd name="connsiteX4-49" fmla="*/ 0 w 7629198"/>
              <a:gd name="connsiteY4-50" fmla="*/ 0 h 6869152"/>
              <a:gd name="connsiteX0-51" fmla="*/ 31928 w 7629198"/>
              <a:gd name="connsiteY0-52" fmla="*/ 20655 h 6847398"/>
              <a:gd name="connsiteX1-53" fmla="*/ 7629198 w 7629198"/>
              <a:gd name="connsiteY1-54" fmla="*/ 0 h 6847398"/>
              <a:gd name="connsiteX2-55" fmla="*/ 5371493 w 7629198"/>
              <a:gd name="connsiteY2-56" fmla="*/ 6836248 h 6847398"/>
              <a:gd name="connsiteX3-57" fmla="*/ 0 w 7629198"/>
              <a:gd name="connsiteY3-58" fmla="*/ 6847398 h 6847398"/>
              <a:gd name="connsiteX4-59" fmla="*/ 31928 w 7629198"/>
              <a:gd name="connsiteY4-60" fmla="*/ 20655 h 6847398"/>
              <a:gd name="connsiteX0-61" fmla="*/ 0 w 7629198"/>
              <a:gd name="connsiteY0-62" fmla="*/ 2985 h 6847398"/>
              <a:gd name="connsiteX1-63" fmla="*/ 7629198 w 7629198"/>
              <a:gd name="connsiteY1-64" fmla="*/ 0 h 6847398"/>
              <a:gd name="connsiteX2-65" fmla="*/ 5371493 w 7629198"/>
              <a:gd name="connsiteY2-66" fmla="*/ 6836248 h 6847398"/>
              <a:gd name="connsiteX3-67" fmla="*/ 0 w 7629198"/>
              <a:gd name="connsiteY3-68" fmla="*/ 6847398 h 6847398"/>
              <a:gd name="connsiteX4-69" fmla="*/ 0 w 7629198"/>
              <a:gd name="connsiteY4-70" fmla="*/ 2985 h 6847398"/>
              <a:gd name="connsiteX0-71" fmla="*/ 34766 w 7629198"/>
              <a:gd name="connsiteY0-72" fmla="*/ 31848 h 6847398"/>
              <a:gd name="connsiteX1-73" fmla="*/ 7629198 w 7629198"/>
              <a:gd name="connsiteY1-74" fmla="*/ 0 h 6847398"/>
              <a:gd name="connsiteX2-75" fmla="*/ 5371493 w 7629198"/>
              <a:gd name="connsiteY2-76" fmla="*/ 6836248 h 6847398"/>
              <a:gd name="connsiteX3-77" fmla="*/ 0 w 7629198"/>
              <a:gd name="connsiteY3-78" fmla="*/ 6847398 h 6847398"/>
              <a:gd name="connsiteX4-79" fmla="*/ 34766 w 7629198"/>
              <a:gd name="connsiteY4-80" fmla="*/ 31848 h 6847398"/>
              <a:gd name="connsiteX0-81" fmla="*/ 2897 w 7629198"/>
              <a:gd name="connsiteY0-82" fmla="*/ 2985 h 6847398"/>
              <a:gd name="connsiteX1-83" fmla="*/ 7629198 w 7629198"/>
              <a:gd name="connsiteY1-84" fmla="*/ 0 h 6847398"/>
              <a:gd name="connsiteX2-85" fmla="*/ 5371493 w 7629198"/>
              <a:gd name="connsiteY2-86" fmla="*/ 6836248 h 6847398"/>
              <a:gd name="connsiteX3-87" fmla="*/ 0 w 7629198"/>
              <a:gd name="connsiteY3-88" fmla="*/ 6847398 h 6847398"/>
              <a:gd name="connsiteX4-89" fmla="*/ 2897 w 7629198"/>
              <a:gd name="connsiteY4-90" fmla="*/ 2985 h 6847398"/>
              <a:gd name="connsiteX0-91" fmla="*/ 19 w 7626320"/>
              <a:gd name="connsiteY0-92" fmla="*/ 2985 h 6836248"/>
              <a:gd name="connsiteX1-93" fmla="*/ 7626320 w 7626320"/>
              <a:gd name="connsiteY1-94" fmla="*/ 0 h 6836248"/>
              <a:gd name="connsiteX2-95" fmla="*/ 5368615 w 7626320"/>
              <a:gd name="connsiteY2-96" fmla="*/ 6836248 h 6836248"/>
              <a:gd name="connsiteX3-97" fmla="*/ 34785 w 7626320"/>
              <a:gd name="connsiteY3-98" fmla="*/ 6786467 h 6836248"/>
              <a:gd name="connsiteX4-99" fmla="*/ 19 w 7626320"/>
              <a:gd name="connsiteY4-100" fmla="*/ 2985 h 6836248"/>
              <a:gd name="connsiteX0-101" fmla="*/ 278 w 7626579"/>
              <a:gd name="connsiteY0-102" fmla="*/ 2985 h 6836248"/>
              <a:gd name="connsiteX1-103" fmla="*/ 7626579 w 7626579"/>
              <a:gd name="connsiteY1-104" fmla="*/ 0 h 6836248"/>
              <a:gd name="connsiteX2-105" fmla="*/ 5368874 w 7626579"/>
              <a:gd name="connsiteY2-106" fmla="*/ 6836248 h 6836248"/>
              <a:gd name="connsiteX3-107" fmla="*/ 278 w 7626579"/>
              <a:gd name="connsiteY3-108" fmla="*/ 6818536 h 6836248"/>
              <a:gd name="connsiteX4-109" fmla="*/ 278 w 7626579"/>
              <a:gd name="connsiteY4-110" fmla="*/ 2985 h 6836248"/>
              <a:gd name="connsiteX0-111" fmla="*/ 278 w 7626579"/>
              <a:gd name="connsiteY0-112" fmla="*/ 2985 h 6818536"/>
              <a:gd name="connsiteX1-113" fmla="*/ 7626579 w 7626579"/>
              <a:gd name="connsiteY1-114" fmla="*/ 0 h 6818536"/>
              <a:gd name="connsiteX2-115" fmla="*/ 5368874 w 7626579"/>
              <a:gd name="connsiteY2-116" fmla="*/ 6817007 h 6818536"/>
              <a:gd name="connsiteX3-117" fmla="*/ 278 w 7626579"/>
              <a:gd name="connsiteY3-118" fmla="*/ 6818536 h 6818536"/>
              <a:gd name="connsiteX4-119" fmla="*/ 278 w 7626579"/>
              <a:gd name="connsiteY4-120" fmla="*/ 2985 h 681853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77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Hero Light" panose="000003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972" y="6202934"/>
            <a:ext cx="2134821" cy="48758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743" y="327025"/>
            <a:ext cx="761820" cy="126365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0033" t="9372" r="21558" b="10839"/>
          <a:stretch>
            <a:fillRect/>
          </a:stretch>
        </p:blipFill>
        <p:spPr>
          <a:xfrm>
            <a:off x="637015" y="296863"/>
            <a:ext cx="803275" cy="1323976"/>
          </a:xfrm>
          <a:prstGeom prst="rect">
            <a:avLst/>
          </a:prstGeom>
        </p:spPr>
      </p:pic>
      <p:sp>
        <p:nvSpPr>
          <p:cNvPr id="18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657743" y="2363238"/>
            <a:ext cx="7833016" cy="280096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86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, чтобы добавить заголовок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4481720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</p:spTree>
  </p:cSld>
  <p:clrMapOvr>
    <a:masterClrMapping/>
  </p:clrMapOvr>
  <p:transition spd="med"/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extOnly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/>
          <p:nvPr userDrawn="1">
            <p:custDataLst>
              <p:tags r:id="rId2"/>
            </p:custDataLst>
          </p:nvPr>
        </p:nvGraphicFramePr>
        <p:xfrm>
          <a:off x="0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95384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ject 2"/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12192000" cy="664489"/>
          </a:xfrm>
          <a:custGeom>
            <a:avLst/>
            <a:gdLst/>
            <a:ahLst/>
            <a:cxnLst/>
            <a:rect l="l" t="t" r="r" b="b"/>
            <a:pathLst>
              <a:path w="9144000" h="5713730">
                <a:moveTo>
                  <a:pt x="0" y="5713196"/>
                </a:moveTo>
                <a:lnTo>
                  <a:pt x="9144000" y="5713196"/>
                </a:lnTo>
                <a:lnTo>
                  <a:pt x="9144000" y="0"/>
                </a:lnTo>
                <a:lnTo>
                  <a:pt x="0" y="0"/>
                </a:lnTo>
                <a:lnTo>
                  <a:pt x="0" y="57131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sz="1540" dirty="0">
              <a:latin typeface="Hero Light" panose="00000300000000000000" pitchFamily="50" charset="-52"/>
            </a:endParaRPr>
          </a:p>
        </p:txBody>
      </p:sp>
      <p:pic>
        <p:nvPicPr>
          <p:cNvPr id="22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10499208" y="-44116"/>
            <a:ext cx="1692792" cy="756000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04800" y="-42810"/>
            <a:ext cx="9652000" cy="763887"/>
          </a:xfrm>
        </p:spPr>
        <p:txBody>
          <a:bodyPr>
            <a:noAutofit/>
          </a:bodyPr>
          <a:lstStyle>
            <a:lvl1pPr algn="l">
              <a:defRPr sz="2540" baseline="0">
                <a:solidFill>
                  <a:schemeClr val="bg1"/>
                </a:solidFill>
                <a:latin typeface="Hero Light" panose="00000300000000000000" pitchFamily="50" charset="-52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ru-RU" dirty="0"/>
          </a:p>
        </p:txBody>
      </p:sp>
      <p:sp>
        <p:nvSpPr>
          <p:cNvPr id="8" name="Holder 4"/>
          <p:cNvSpPr>
            <a:spLocks noGrp="1"/>
          </p:cNvSpPr>
          <p:nvPr>
            <p:ph type="sldNum" sz="quarter" idx="7"/>
            <p:custDataLst>
              <p:tags r:id="rId9"/>
            </p:custDataLst>
          </p:nvPr>
        </p:nvSpPr>
        <p:spPr>
          <a:xfrm>
            <a:off x="9042401" y="6537960"/>
            <a:ext cx="2844800" cy="320040"/>
          </a:xfrm>
        </p:spPr>
        <p:txBody>
          <a:bodyPr lIns="0" tIns="0" rIns="0" bIns="0"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pPr marL="32385"/>
            <a:fld id="{81D60167-4931-47E6-BA6A-407CBD079E47}" type="slidenum">
              <a:rPr lang="ru-RU" smtClean="0">
                <a:cs typeface="Arial" panose="020B0604020202020204"/>
              </a:rPr>
            </a:fld>
            <a:endParaRPr lang="ru-RU" dirty="0"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>
                <a:latin typeface="Hero Light" panose="00000300000000000000" pitchFamily="50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3DD1F9D4-C1A5-5847-B9D5-8C7D76FE55A1}" type="datetimeFigureOut">
              <a:rPr lang="ru-RU" smtClean="0"/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06021A07-E9D9-9D42-BD2F-72DC9091036E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3DD1F9D4-C1A5-5847-B9D5-8C7D76FE55A1}" type="datetimeFigureOut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ro Light" panose="00000300000000000000" pitchFamily="50" charset="-52"/>
              </a:defRPr>
            </a:lvl1pPr>
          </a:lstStyle>
          <a:p>
            <a:fld id="{06021A07-E9D9-9D42-BD2F-72DC9091036E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54AE8-75C2-2242-AFED-78495F10DB34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61FDC-EED4-304B-8B4D-FDCE45D49F11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5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E34F3F-EC80-324E-B3D9-82639530254F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6A93F-2939-E041-8C11-907132C4B220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F2144-A576-3D4D-8985-ED50B8D19BE8}" type="datetime1">
              <a:rPr lang="ru-RU" smtClean="0"/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0C1227-739B-A645-8F39-ACE61F92B391}" type="datetime1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1"/>
          <p:cNvSpPr>
            <a:spLocks noGrp="1"/>
          </p:cNvSpPr>
          <p:nvPr>
            <p:ph type="pic" sz="quarter" idx="11" hasCustomPrompt="1"/>
          </p:nvPr>
        </p:nvSpPr>
        <p:spPr>
          <a:xfrm>
            <a:off x="5971142" y="0"/>
            <a:ext cx="6224084" cy="68592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-1" fmla="*/ 2235941 w 5005840"/>
              <a:gd name="connsiteY0-2" fmla="*/ 0 h 5143500"/>
              <a:gd name="connsiteX1-3" fmla="*/ 5005840 w 5005840"/>
              <a:gd name="connsiteY1-4" fmla="*/ 0 h 5143500"/>
              <a:gd name="connsiteX2-5" fmla="*/ 5005840 w 5005840"/>
              <a:gd name="connsiteY2-6" fmla="*/ 5143500 h 5143500"/>
              <a:gd name="connsiteX3-7" fmla="*/ 0 w 5005840"/>
              <a:gd name="connsiteY3-8" fmla="*/ 5143500 h 5143500"/>
              <a:gd name="connsiteX4-9" fmla="*/ 2235941 w 5005840"/>
              <a:gd name="connsiteY4-10" fmla="*/ 0 h 5143500"/>
              <a:gd name="connsiteX0-11" fmla="*/ 1882195 w 4652094"/>
              <a:gd name="connsiteY0-12" fmla="*/ 0 h 5143500"/>
              <a:gd name="connsiteX1-13" fmla="*/ 4652094 w 4652094"/>
              <a:gd name="connsiteY1-14" fmla="*/ 0 h 5143500"/>
              <a:gd name="connsiteX2-15" fmla="*/ 4652094 w 4652094"/>
              <a:gd name="connsiteY2-16" fmla="*/ 5143500 h 5143500"/>
              <a:gd name="connsiteX3-17" fmla="*/ 0 w 4652094"/>
              <a:gd name="connsiteY3-18" fmla="*/ 5136825 h 5143500"/>
              <a:gd name="connsiteX4-19" fmla="*/ 1882195 w 4652094"/>
              <a:gd name="connsiteY4-20" fmla="*/ 0 h 5143500"/>
              <a:gd name="connsiteX0-21" fmla="*/ 1839332 w 4609231"/>
              <a:gd name="connsiteY0-22" fmla="*/ 0 h 5167782"/>
              <a:gd name="connsiteX1-23" fmla="*/ 4609231 w 4609231"/>
              <a:gd name="connsiteY1-24" fmla="*/ 0 h 5167782"/>
              <a:gd name="connsiteX2-25" fmla="*/ 4609231 w 4609231"/>
              <a:gd name="connsiteY2-26" fmla="*/ 5143500 h 5167782"/>
              <a:gd name="connsiteX3-27" fmla="*/ 0 w 4609231"/>
              <a:gd name="connsiteY3-28" fmla="*/ 5167782 h 5167782"/>
              <a:gd name="connsiteX4-29" fmla="*/ 1839332 w 4609231"/>
              <a:gd name="connsiteY4-30" fmla="*/ 0 h 5167782"/>
              <a:gd name="connsiteX0-31" fmla="*/ 1886957 w 4656856"/>
              <a:gd name="connsiteY0-32" fmla="*/ 0 h 5146350"/>
              <a:gd name="connsiteX1-33" fmla="*/ 4656856 w 4656856"/>
              <a:gd name="connsiteY1-34" fmla="*/ 0 h 5146350"/>
              <a:gd name="connsiteX2-35" fmla="*/ 4656856 w 4656856"/>
              <a:gd name="connsiteY2-36" fmla="*/ 5143500 h 5146350"/>
              <a:gd name="connsiteX3-37" fmla="*/ 0 w 4656856"/>
              <a:gd name="connsiteY3-38" fmla="*/ 5146350 h 5146350"/>
              <a:gd name="connsiteX4-39" fmla="*/ 1886957 w 4656856"/>
              <a:gd name="connsiteY4-40" fmla="*/ 0 h 5146350"/>
              <a:gd name="connsiteX0-41" fmla="*/ 1883782 w 4656856"/>
              <a:gd name="connsiteY0-42" fmla="*/ 0 h 5149525"/>
              <a:gd name="connsiteX1-43" fmla="*/ 4656856 w 4656856"/>
              <a:gd name="connsiteY1-44" fmla="*/ 3175 h 5149525"/>
              <a:gd name="connsiteX2-45" fmla="*/ 4656856 w 4656856"/>
              <a:gd name="connsiteY2-46" fmla="*/ 5146675 h 5149525"/>
              <a:gd name="connsiteX3-47" fmla="*/ 0 w 4656856"/>
              <a:gd name="connsiteY3-48" fmla="*/ 5149525 h 5149525"/>
              <a:gd name="connsiteX4-49" fmla="*/ 1883782 w 4656856"/>
              <a:gd name="connsiteY4-50" fmla="*/ 0 h 5149525"/>
              <a:gd name="connsiteX0-51" fmla="*/ 1820886 w 4593960"/>
              <a:gd name="connsiteY0-52" fmla="*/ 0 h 5146675"/>
              <a:gd name="connsiteX1-53" fmla="*/ 4593960 w 4593960"/>
              <a:gd name="connsiteY1-54" fmla="*/ 3175 h 5146675"/>
              <a:gd name="connsiteX2-55" fmla="*/ 4593960 w 4593960"/>
              <a:gd name="connsiteY2-56" fmla="*/ 5146675 h 5146675"/>
              <a:gd name="connsiteX3-57" fmla="*/ 0 w 4593960"/>
              <a:gd name="connsiteY3-58" fmla="*/ 5098725 h 5146675"/>
              <a:gd name="connsiteX4-59" fmla="*/ 1820886 w 4593960"/>
              <a:gd name="connsiteY4-60" fmla="*/ 0 h 5146675"/>
              <a:gd name="connsiteX0-61" fmla="*/ 1886201 w 4659275"/>
              <a:gd name="connsiteY0-62" fmla="*/ 0 h 5146675"/>
              <a:gd name="connsiteX1-63" fmla="*/ 4659275 w 4659275"/>
              <a:gd name="connsiteY1-64" fmla="*/ 3175 h 5146675"/>
              <a:gd name="connsiteX2-65" fmla="*/ 4659275 w 4659275"/>
              <a:gd name="connsiteY2-66" fmla="*/ 5146675 h 5146675"/>
              <a:gd name="connsiteX3-67" fmla="*/ 0 w 4659275"/>
              <a:gd name="connsiteY3-68" fmla="*/ 5144687 h 5146675"/>
              <a:gd name="connsiteX4-69" fmla="*/ 1886201 w 4659275"/>
              <a:gd name="connsiteY4-70" fmla="*/ 0 h 5146675"/>
              <a:gd name="connsiteX0-71" fmla="*/ 1886201 w 4659275"/>
              <a:gd name="connsiteY0-72" fmla="*/ 0 h 5144687"/>
              <a:gd name="connsiteX1-73" fmla="*/ 4659275 w 4659275"/>
              <a:gd name="connsiteY1-74" fmla="*/ 3175 h 5144687"/>
              <a:gd name="connsiteX2-75" fmla="*/ 4591542 w 4659275"/>
              <a:gd name="connsiteY2-76" fmla="*/ 5086199 h 5144687"/>
              <a:gd name="connsiteX3-77" fmla="*/ 0 w 4659275"/>
              <a:gd name="connsiteY3-78" fmla="*/ 5144687 h 5144687"/>
              <a:gd name="connsiteX4-79" fmla="*/ 1886201 w 4659275"/>
              <a:gd name="connsiteY4-80" fmla="*/ 0 h 5144687"/>
              <a:gd name="connsiteX0-81" fmla="*/ 1886201 w 4661694"/>
              <a:gd name="connsiteY0-82" fmla="*/ 0 h 5144687"/>
              <a:gd name="connsiteX1-83" fmla="*/ 4659275 w 4661694"/>
              <a:gd name="connsiteY1-84" fmla="*/ 3175 h 5144687"/>
              <a:gd name="connsiteX2-85" fmla="*/ 4661694 w 4661694"/>
              <a:gd name="connsiteY2-86" fmla="*/ 5144256 h 5144687"/>
              <a:gd name="connsiteX3-87" fmla="*/ 0 w 4661694"/>
              <a:gd name="connsiteY3-88" fmla="*/ 5144687 h 5144687"/>
              <a:gd name="connsiteX4-89" fmla="*/ 1886201 w 4661694"/>
              <a:gd name="connsiteY4-90" fmla="*/ 0 h 5144687"/>
              <a:gd name="connsiteX0-91" fmla="*/ 1886201 w 4661694"/>
              <a:gd name="connsiteY0-92" fmla="*/ 0 h 5144687"/>
              <a:gd name="connsiteX1-93" fmla="*/ 4625408 w 4661694"/>
              <a:gd name="connsiteY1-94" fmla="*/ 41880 h 5144687"/>
              <a:gd name="connsiteX2-95" fmla="*/ 4661694 w 4661694"/>
              <a:gd name="connsiteY2-96" fmla="*/ 5144256 h 5144687"/>
              <a:gd name="connsiteX3-97" fmla="*/ 0 w 4661694"/>
              <a:gd name="connsiteY3-98" fmla="*/ 5144687 h 5144687"/>
              <a:gd name="connsiteX4-99" fmla="*/ 1886201 w 4661694"/>
              <a:gd name="connsiteY4-100" fmla="*/ 0 h 5144687"/>
              <a:gd name="connsiteX0-101" fmla="*/ 1886201 w 4661694"/>
              <a:gd name="connsiteY0-102" fmla="*/ 0 h 5144687"/>
              <a:gd name="connsiteX1-103" fmla="*/ 4659275 w 4661694"/>
              <a:gd name="connsiteY1-104" fmla="*/ 3175 h 5144687"/>
              <a:gd name="connsiteX2-105" fmla="*/ 4661694 w 4661694"/>
              <a:gd name="connsiteY2-106" fmla="*/ 5144256 h 5144687"/>
              <a:gd name="connsiteX3-107" fmla="*/ 0 w 4661694"/>
              <a:gd name="connsiteY3-108" fmla="*/ 5144687 h 5144687"/>
              <a:gd name="connsiteX4-109" fmla="*/ 1886201 w 4661694"/>
              <a:gd name="connsiteY4-110" fmla="*/ 0 h 5144687"/>
              <a:gd name="connsiteX0-111" fmla="*/ 1900716 w 4661694"/>
              <a:gd name="connsiteY0-112" fmla="*/ 37949 h 5141512"/>
              <a:gd name="connsiteX1-113" fmla="*/ 4659275 w 4661694"/>
              <a:gd name="connsiteY1-114" fmla="*/ 0 h 5141512"/>
              <a:gd name="connsiteX2-115" fmla="*/ 4661694 w 4661694"/>
              <a:gd name="connsiteY2-116" fmla="*/ 5141081 h 5141512"/>
              <a:gd name="connsiteX3-117" fmla="*/ 0 w 4661694"/>
              <a:gd name="connsiteY3-118" fmla="*/ 5141512 h 5141512"/>
              <a:gd name="connsiteX4-119" fmla="*/ 1900716 w 4661694"/>
              <a:gd name="connsiteY4-120" fmla="*/ 37949 h 5141512"/>
              <a:gd name="connsiteX0-121" fmla="*/ 1886201 w 4661694"/>
              <a:gd name="connsiteY0-122" fmla="*/ 1663 h 5141512"/>
              <a:gd name="connsiteX1-123" fmla="*/ 4659275 w 4661694"/>
              <a:gd name="connsiteY1-124" fmla="*/ 0 h 5141512"/>
              <a:gd name="connsiteX2-125" fmla="*/ 4661694 w 4661694"/>
              <a:gd name="connsiteY2-126" fmla="*/ 5141081 h 5141512"/>
              <a:gd name="connsiteX3-127" fmla="*/ 0 w 4661694"/>
              <a:gd name="connsiteY3-128" fmla="*/ 5141512 h 5141512"/>
              <a:gd name="connsiteX4-129" fmla="*/ 1886201 w 4661694"/>
              <a:gd name="connsiteY4-130" fmla="*/ 1663 h 5141512"/>
              <a:gd name="connsiteX0-131" fmla="*/ 1886201 w 4661694"/>
              <a:gd name="connsiteY0-132" fmla="*/ 1663 h 5141512"/>
              <a:gd name="connsiteX1-133" fmla="*/ 4659275 w 4661694"/>
              <a:gd name="connsiteY1-134" fmla="*/ 0 h 5141512"/>
              <a:gd name="connsiteX2-135" fmla="*/ 4661694 w 4661694"/>
              <a:gd name="connsiteY2-136" fmla="*/ 5141081 h 5141512"/>
              <a:gd name="connsiteX3-137" fmla="*/ 0 w 4661694"/>
              <a:gd name="connsiteY3-138" fmla="*/ 5141512 h 5141512"/>
              <a:gd name="connsiteX4-139" fmla="*/ 1886201 w 4661694"/>
              <a:gd name="connsiteY4-140" fmla="*/ 1663 h 5141512"/>
              <a:gd name="connsiteX0-141" fmla="*/ 1886201 w 4661694"/>
              <a:gd name="connsiteY0-142" fmla="*/ 1663 h 5143462"/>
              <a:gd name="connsiteX1-143" fmla="*/ 4659275 w 4661694"/>
              <a:gd name="connsiteY1-144" fmla="*/ 0 h 5143462"/>
              <a:gd name="connsiteX2-145" fmla="*/ 4661694 w 4661694"/>
              <a:gd name="connsiteY2-146" fmla="*/ 5143462 h 5143462"/>
              <a:gd name="connsiteX3-147" fmla="*/ 0 w 4661694"/>
              <a:gd name="connsiteY3-148" fmla="*/ 5141512 h 5143462"/>
              <a:gd name="connsiteX4-149" fmla="*/ 1886201 w 4661694"/>
              <a:gd name="connsiteY4-150" fmla="*/ 1663 h 5143462"/>
              <a:gd name="connsiteX0-151" fmla="*/ 1886201 w 4661694"/>
              <a:gd name="connsiteY0-152" fmla="*/ 1663 h 5141512"/>
              <a:gd name="connsiteX1-153" fmla="*/ 4659275 w 4661694"/>
              <a:gd name="connsiteY1-154" fmla="*/ 0 h 5141512"/>
              <a:gd name="connsiteX2-155" fmla="*/ 4661694 w 4661694"/>
              <a:gd name="connsiteY2-156" fmla="*/ 5141080 h 5141512"/>
              <a:gd name="connsiteX3-157" fmla="*/ 0 w 4661694"/>
              <a:gd name="connsiteY3-158" fmla="*/ 5141512 h 5141512"/>
              <a:gd name="connsiteX4-159" fmla="*/ 1886201 w 4661694"/>
              <a:gd name="connsiteY4-160" fmla="*/ 1663 h 5141512"/>
              <a:gd name="connsiteX0-161" fmla="*/ 1888582 w 4664075"/>
              <a:gd name="connsiteY0-162" fmla="*/ 1663 h 5141512"/>
              <a:gd name="connsiteX1-163" fmla="*/ 4661656 w 4664075"/>
              <a:gd name="connsiteY1-164" fmla="*/ 0 h 5141512"/>
              <a:gd name="connsiteX2-165" fmla="*/ 4664075 w 4664075"/>
              <a:gd name="connsiteY2-166" fmla="*/ 5141080 h 5141512"/>
              <a:gd name="connsiteX3-167" fmla="*/ 0 w 4664075"/>
              <a:gd name="connsiteY3-168" fmla="*/ 5141512 h 5141512"/>
              <a:gd name="connsiteX4-169" fmla="*/ 1888582 w 4664075"/>
              <a:gd name="connsiteY4-170" fmla="*/ 1663 h 514151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335"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  <a:endParaRPr lang="ru-RU" dirty="0"/>
          </a:p>
          <a:p>
            <a:endParaRPr lang="ru-RU" dirty="0"/>
          </a:p>
        </p:txBody>
      </p:sp>
      <p:sp>
        <p:nvSpPr>
          <p:cNvPr id="12" name="Прямоугольник 6"/>
          <p:cNvSpPr/>
          <p:nvPr/>
        </p:nvSpPr>
        <p:spPr>
          <a:xfrm>
            <a:off x="1" y="-347"/>
            <a:ext cx="8490759" cy="6857891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-1" fmla="*/ 0 w 6869152"/>
              <a:gd name="connsiteY0-2" fmla="*/ 0 h 6869152"/>
              <a:gd name="connsiteX1-3" fmla="*/ 6869152 w 6869152"/>
              <a:gd name="connsiteY1-4" fmla="*/ 0 h 6869152"/>
              <a:gd name="connsiteX2-5" fmla="*/ 5274528 w 6869152"/>
              <a:gd name="connsiteY2-6" fmla="*/ 6858001 h 6869152"/>
              <a:gd name="connsiteX3-7" fmla="*/ 0 w 6869152"/>
              <a:gd name="connsiteY3-8" fmla="*/ 6869152 h 6869152"/>
              <a:gd name="connsiteX4-9" fmla="*/ 0 w 6869152"/>
              <a:gd name="connsiteY4-10" fmla="*/ 0 h 6869152"/>
              <a:gd name="connsiteX0-11" fmla="*/ 0 w 6869152"/>
              <a:gd name="connsiteY0-12" fmla="*/ 0 h 6869153"/>
              <a:gd name="connsiteX1-13" fmla="*/ 6869152 w 6869152"/>
              <a:gd name="connsiteY1-14" fmla="*/ 0 h 6869153"/>
              <a:gd name="connsiteX2-15" fmla="*/ 4334177 w 6869152"/>
              <a:gd name="connsiteY2-16" fmla="*/ 6869153 h 6869153"/>
              <a:gd name="connsiteX3-17" fmla="*/ 0 w 6869152"/>
              <a:gd name="connsiteY3-18" fmla="*/ 6869152 h 6869153"/>
              <a:gd name="connsiteX4-19" fmla="*/ 0 w 6869152"/>
              <a:gd name="connsiteY4-20" fmla="*/ 0 h 6869153"/>
              <a:gd name="connsiteX0-21" fmla="*/ 0 w 6869152"/>
              <a:gd name="connsiteY0-22" fmla="*/ 0 h 6869152"/>
              <a:gd name="connsiteX1-23" fmla="*/ 6869152 w 6869152"/>
              <a:gd name="connsiteY1-24" fmla="*/ 0 h 6869152"/>
              <a:gd name="connsiteX2-25" fmla="*/ 5371493 w 6869152"/>
              <a:gd name="connsiteY2-26" fmla="*/ 6858002 h 6869152"/>
              <a:gd name="connsiteX3-27" fmla="*/ 0 w 6869152"/>
              <a:gd name="connsiteY3-28" fmla="*/ 6869152 h 6869152"/>
              <a:gd name="connsiteX4-29" fmla="*/ 0 w 6869152"/>
              <a:gd name="connsiteY4-30" fmla="*/ 0 h 6869152"/>
              <a:gd name="connsiteX0-31" fmla="*/ 0 w 7632391"/>
              <a:gd name="connsiteY0-32" fmla="*/ 0 h 6869152"/>
              <a:gd name="connsiteX1-33" fmla="*/ 7632391 w 7632391"/>
              <a:gd name="connsiteY1-34" fmla="*/ 11151 h 6869152"/>
              <a:gd name="connsiteX2-35" fmla="*/ 5371493 w 7632391"/>
              <a:gd name="connsiteY2-36" fmla="*/ 6858002 h 6869152"/>
              <a:gd name="connsiteX3-37" fmla="*/ 0 w 7632391"/>
              <a:gd name="connsiteY3-38" fmla="*/ 6869152 h 6869152"/>
              <a:gd name="connsiteX4-39" fmla="*/ 0 w 7632391"/>
              <a:gd name="connsiteY4-40" fmla="*/ 0 h 6869152"/>
              <a:gd name="connsiteX0-41" fmla="*/ 0 w 7629198"/>
              <a:gd name="connsiteY0-42" fmla="*/ 0 h 6869152"/>
              <a:gd name="connsiteX1-43" fmla="*/ 7629198 w 7629198"/>
              <a:gd name="connsiteY1-44" fmla="*/ 21754 h 6869152"/>
              <a:gd name="connsiteX2-45" fmla="*/ 5371493 w 7629198"/>
              <a:gd name="connsiteY2-46" fmla="*/ 6858002 h 6869152"/>
              <a:gd name="connsiteX3-47" fmla="*/ 0 w 7629198"/>
              <a:gd name="connsiteY3-48" fmla="*/ 6869152 h 6869152"/>
              <a:gd name="connsiteX4-49" fmla="*/ 0 w 7629198"/>
              <a:gd name="connsiteY4-50" fmla="*/ 0 h 6869152"/>
              <a:gd name="connsiteX0-51" fmla="*/ 31928 w 7629198"/>
              <a:gd name="connsiteY0-52" fmla="*/ 20655 h 6847398"/>
              <a:gd name="connsiteX1-53" fmla="*/ 7629198 w 7629198"/>
              <a:gd name="connsiteY1-54" fmla="*/ 0 h 6847398"/>
              <a:gd name="connsiteX2-55" fmla="*/ 5371493 w 7629198"/>
              <a:gd name="connsiteY2-56" fmla="*/ 6836248 h 6847398"/>
              <a:gd name="connsiteX3-57" fmla="*/ 0 w 7629198"/>
              <a:gd name="connsiteY3-58" fmla="*/ 6847398 h 6847398"/>
              <a:gd name="connsiteX4-59" fmla="*/ 31928 w 7629198"/>
              <a:gd name="connsiteY4-60" fmla="*/ 20655 h 6847398"/>
              <a:gd name="connsiteX0-61" fmla="*/ 0 w 7629198"/>
              <a:gd name="connsiteY0-62" fmla="*/ 2985 h 6847398"/>
              <a:gd name="connsiteX1-63" fmla="*/ 7629198 w 7629198"/>
              <a:gd name="connsiteY1-64" fmla="*/ 0 h 6847398"/>
              <a:gd name="connsiteX2-65" fmla="*/ 5371493 w 7629198"/>
              <a:gd name="connsiteY2-66" fmla="*/ 6836248 h 6847398"/>
              <a:gd name="connsiteX3-67" fmla="*/ 0 w 7629198"/>
              <a:gd name="connsiteY3-68" fmla="*/ 6847398 h 6847398"/>
              <a:gd name="connsiteX4-69" fmla="*/ 0 w 7629198"/>
              <a:gd name="connsiteY4-70" fmla="*/ 2985 h 6847398"/>
              <a:gd name="connsiteX0-71" fmla="*/ 34766 w 7629198"/>
              <a:gd name="connsiteY0-72" fmla="*/ 31848 h 6847398"/>
              <a:gd name="connsiteX1-73" fmla="*/ 7629198 w 7629198"/>
              <a:gd name="connsiteY1-74" fmla="*/ 0 h 6847398"/>
              <a:gd name="connsiteX2-75" fmla="*/ 5371493 w 7629198"/>
              <a:gd name="connsiteY2-76" fmla="*/ 6836248 h 6847398"/>
              <a:gd name="connsiteX3-77" fmla="*/ 0 w 7629198"/>
              <a:gd name="connsiteY3-78" fmla="*/ 6847398 h 6847398"/>
              <a:gd name="connsiteX4-79" fmla="*/ 34766 w 7629198"/>
              <a:gd name="connsiteY4-80" fmla="*/ 31848 h 6847398"/>
              <a:gd name="connsiteX0-81" fmla="*/ 2897 w 7629198"/>
              <a:gd name="connsiteY0-82" fmla="*/ 2985 h 6847398"/>
              <a:gd name="connsiteX1-83" fmla="*/ 7629198 w 7629198"/>
              <a:gd name="connsiteY1-84" fmla="*/ 0 h 6847398"/>
              <a:gd name="connsiteX2-85" fmla="*/ 5371493 w 7629198"/>
              <a:gd name="connsiteY2-86" fmla="*/ 6836248 h 6847398"/>
              <a:gd name="connsiteX3-87" fmla="*/ 0 w 7629198"/>
              <a:gd name="connsiteY3-88" fmla="*/ 6847398 h 6847398"/>
              <a:gd name="connsiteX4-89" fmla="*/ 2897 w 7629198"/>
              <a:gd name="connsiteY4-90" fmla="*/ 2985 h 6847398"/>
              <a:gd name="connsiteX0-91" fmla="*/ 19 w 7626320"/>
              <a:gd name="connsiteY0-92" fmla="*/ 2985 h 6836248"/>
              <a:gd name="connsiteX1-93" fmla="*/ 7626320 w 7626320"/>
              <a:gd name="connsiteY1-94" fmla="*/ 0 h 6836248"/>
              <a:gd name="connsiteX2-95" fmla="*/ 5368615 w 7626320"/>
              <a:gd name="connsiteY2-96" fmla="*/ 6836248 h 6836248"/>
              <a:gd name="connsiteX3-97" fmla="*/ 34785 w 7626320"/>
              <a:gd name="connsiteY3-98" fmla="*/ 6786467 h 6836248"/>
              <a:gd name="connsiteX4-99" fmla="*/ 19 w 7626320"/>
              <a:gd name="connsiteY4-100" fmla="*/ 2985 h 6836248"/>
              <a:gd name="connsiteX0-101" fmla="*/ 278 w 7626579"/>
              <a:gd name="connsiteY0-102" fmla="*/ 2985 h 6836248"/>
              <a:gd name="connsiteX1-103" fmla="*/ 7626579 w 7626579"/>
              <a:gd name="connsiteY1-104" fmla="*/ 0 h 6836248"/>
              <a:gd name="connsiteX2-105" fmla="*/ 5368874 w 7626579"/>
              <a:gd name="connsiteY2-106" fmla="*/ 6836248 h 6836248"/>
              <a:gd name="connsiteX3-107" fmla="*/ 278 w 7626579"/>
              <a:gd name="connsiteY3-108" fmla="*/ 6818536 h 6836248"/>
              <a:gd name="connsiteX4-109" fmla="*/ 278 w 7626579"/>
              <a:gd name="connsiteY4-110" fmla="*/ 2985 h 6836248"/>
              <a:gd name="connsiteX0-111" fmla="*/ 278 w 7626579"/>
              <a:gd name="connsiteY0-112" fmla="*/ 2985 h 6818536"/>
              <a:gd name="connsiteX1-113" fmla="*/ 7626579 w 7626579"/>
              <a:gd name="connsiteY1-114" fmla="*/ 0 h 6818536"/>
              <a:gd name="connsiteX2-115" fmla="*/ 5368874 w 7626579"/>
              <a:gd name="connsiteY2-116" fmla="*/ 6817007 h 6818536"/>
              <a:gd name="connsiteX3-117" fmla="*/ 278 w 7626579"/>
              <a:gd name="connsiteY3-118" fmla="*/ 6818536 h 6818536"/>
              <a:gd name="connsiteX4-119" fmla="*/ 278 w 7626579"/>
              <a:gd name="connsiteY4-120" fmla="*/ 2985 h 681853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57D9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Hero Light" panose="00000300000000000000" pitchFamily="50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972" y="6202934"/>
            <a:ext cx="2134821" cy="48758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743" y="327025"/>
            <a:ext cx="761820" cy="126365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0033" t="9372" r="21558" b="10839"/>
          <a:stretch>
            <a:fillRect/>
          </a:stretch>
        </p:blipFill>
        <p:spPr>
          <a:xfrm>
            <a:off x="637015" y="296863"/>
            <a:ext cx="803275" cy="1323976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4481720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  <p:sp>
        <p:nvSpPr>
          <p:cNvPr id="11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657743" y="2363238"/>
            <a:ext cx="7833016" cy="280096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86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, чтобы добавить 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1E7F-B016-7743-8091-B03580650992}" type="datetime1">
              <a:rPr lang="ru-RU" smtClean="0"/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90"/>
            </a:lvl2pPr>
            <a:lvl3pPr marL="514350" indent="0">
              <a:buNone/>
              <a:defRPr sz="675"/>
            </a:lvl3pPr>
            <a:lvl4pPr marL="771525" indent="0">
              <a:buNone/>
              <a:defRPr sz="565"/>
            </a:lvl4pPr>
            <a:lvl5pPr marL="1028700" indent="0">
              <a:buNone/>
              <a:defRPr sz="565"/>
            </a:lvl5pPr>
            <a:lvl6pPr marL="1285875" indent="0">
              <a:buNone/>
              <a:defRPr sz="565"/>
            </a:lvl6pPr>
            <a:lvl7pPr marL="1543050" indent="0">
              <a:buNone/>
              <a:defRPr sz="565"/>
            </a:lvl7pPr>
            <a:lvl8pPr marL="1800225" indent="0">
              <a:buNone/>
              <a:defRPr sz="565"/>
            </a:lvl8pPr>
            <a:lvl9pPr marL="2057400" indent="0">
              <a:buNone/>
              <a:defRPr sz="565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18024-C918-F948-8048-FE2CDDE192F5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90"/>
            </a:lvl2pPr>
            <a:lvl3pPr marL="514350" indent="0">
              <a:buNone/>
              <a:defRPr sz="675"/>
            </a:lvl3pPr>
            <a:lvl4pPr marL="771525" indent="0">
              <a:buNone/>
              <a:defRPr sz="565"/>
            </a:lvl4pPr>
            <a:lvl5pPr marL="1028700" indent="0">
              <a:buNone/>
              <a:defRPr sz="565"/>
            </a:lvl5pPr>
            <a:lvl6pPr marL="1285875" indent="0">
              <a:buNone/>
              <a:defRPr sz="565"/>
            </a:lvl6pPr>
            <a:lvl7pPr marL="1543050" indent="0">
              <a:buNone/>
              <a:defRPr sz="565"/>
            </a:lvl7pPr>
            <a:lvl8pPr marL="1800225" indent="0">
              <a:buNone/>
              <a:defRPr sz="565"/>
            </a:lvl8pPr>
            <a:lvl9pPr marL="2057400" indent="0">
              <a:buNone/>
              <a:defRPr sz="565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23ED-DA8C-D14C-8478-6795D9463B19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55EC0-2547-3641-AE6F-7DF230143C08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1584B-29CF-264A-B068-992488826BD2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A76D7-1995-4B72-BABC-5EB4AFEF015A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9D97CB-7C82-4172-B262-A8855E025BBE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B1C5DE-E59F-46C9-A61B-F860832A7B2F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2D871-AFA8-484E-A951-418D08EB6699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B534B-FC02-440F-908C-C33359126DC9}" type="datetime1">
              <a:rPr lang="ru-RU" smtClean="0"/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1"/>
          <p:cNvSpPr>
            <a:spLocks noGrp="1"/>
          </p:cNvSpPr>
          <p:nvPr>
            <p:ph type="pic" sz="quarter" idx="11" hasCustomPrompt="1"/>
          </p:nvPr>
        </p:nvSpPr>
        <p:spPr>
          <a:xfrm>
            <a:off x="5971142" y="0"/>
            <a:ext cx="6224084" cy="68592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-1" fmla="*/ 2235941 w 5005840"/>
              <a:gd name="connsiteY0-2" fmla="*/ 0 h 5143500"/>
              <a:gd name="connsiteX1-3" fmla="*/ 5005840 w 5005840"/>
              <a:gd name="connsiteY1-4" fmla="*/ 0 h 5143500"/>
              <a:gd name="connsiteX2-5" fmla="*/ 5005840 w 5005840"/>
              <a:gd name="connsiteY2-6" fmla="*/ 5143500 h 5143500"/>
              <a:gd name="connsiteX3-7" fmla="*/ 0 w 5005840"/>
              <a:gd name="connsiteY3-8" fmla="*/ 5143500 h 5143500"/>
              <a:gd name="connsiteX4-9" fmla="*/ 2235941 w 5005840"/>
              <a:gd name="connsiteY4-10" fmla="*/ 0 h 5143500"/>
              <a:gd name="connsiteX0-11" fmla="*/ 1882195 w 4652094"/>
              <a:gd name="connsiteY0-12" fmla="*/ 0 h 5143500"/>
              <a:gd name="connsiteX1-13" fmla="*/ 4652094 w 4652094"/>
              <a:gd name="connsiteY1-14" fmla="*/ 0 h 5143500"/>
              <a:gd name="connsiteX2-15" fmla="*/ 4652094 w 4652094"/>
              <a:gd name="connsiteY2-16" fmla="*/ 5143500 h 5143500"/>
              <a:gd name="connsiteX3-17" fmla="*/ 0 w 4652094"/>
              <a:gd name="connsiteY3-18" fmla="*/ 5136825 h 5143500"/>
              <a:gd name="connsiteX4-19" fmla="*/ 1882195 w 4652094"/>
              <a:gd name="connsiteY4-20" fmla="*/ 0 h 5143500"/>
              <a:gd name="connsiteX0-21" fmla="*/ 1839332 w 4609231"/>
              <a:gd name="connsiteY0-22" fmla="*/ 0 h 5167782"/>
              <a:gd name="connsiteX1-23" fmla="*/ 4609231 w 4609231"/>
              <a:gd name="connsiteY1-24" fmla="*/ 0 h 5167782"/>
              <a:gd name="connsiteX2-25" fmla="*/ 4609231 w 4609231"/>
              <a:gd name="connsiteY2-26" fmla="*/ 5143500 h 5167782"/>
              <a:gd name="connsiteX3-27" fmla="*/ 0 w 4609231"/>
              <a:gd name="connsiteY3-28" fmla="*/ 5167782 h 5167782"/>
              <a:gd name="connsiteX4-29" fmla="*/ 1839332 w 4609231"/>
              <a:gd name="connsiteY4-30" fmla="*/ 0 h 5167782"/>
              <a:gd name="connsiteX0-31" fmla="*/ 1886957 w 4656856"/>
              <a:gd name="connsiteY0-32" fmla="*/ 0 h 5146350"/>
              <a:gd name="connsiteX1-33" fmla="*/ 4656856 w 4656856"/>
              <a:gd name="connsiteY1-34" fmla="*/ 0 h 5146350"/>
              <a:gd name="connsiteX2-35" fmla="*/ 4656856 w 4656856"/>
              <a:gd name="connsiteY2-36" fmla="*/ 5143500 h 5146350"/>
              <a:gd name="connsiteX3-37" fmla="*/ 0 w 4656856"/>
              <a:gd name="connsiteY3-38" fmla="*/ 5146350 h 5146350"/>
              <a:gd name="connsiteX4-39" fmla="*/ 1886957 w 4656856"/>
              <a:gd name="connsiteY4-40" fmla="*/ 0 h 5146350"/>
              <a:gd name="connsiteX0-41" fmla="*/ 1883782 w 4656856"/>
              <a:gd name="connsiteY0-42" fmla="*/ 0 h 5149525"/>
              <a:gd name="connsiteX1-43" fmla="*/ 4656856 w 4656856"/>
              <a:gd name="connsiteY1-44" fmla="*/ 3175 h 5149525"/>
              <a:gd name="connsiteX2-45" fmla="*/ 4656856 w 4656856"/>
              <a:gd name="connsiteY2-46" fmla="*/ 5146675 h 5149525"/>
              <a:gd name="connsiteX3-47" fmla="*/ 0 w 4656856"/>
              <a:gd name="connsiteY3-48" fmla="*/ 5149525 h 5149525"/>
              <a:gd name="connsiteX4-49" fmla="*/ 1883782 w 4656856"/>
              <a:gd name="connsiteY4-50" fmla="*/ 0 h 5149525"/>
              <a:gd name="connsiteX0-51" fmla="*/ 1820886 w 4593960"/>
              <a:gd name="connsiteY0-52" fmla="*/ 0 h 5146675"/>
              <a:gd name="connsiteX1-53" fmla="*/ 4593960 w 4593960"/>
              <a:gd name="connsiteY1-54" fmla="*/ 3175 h 5146675"/>
              <a:gd name="connsiteX2-55" fmla="*/ 4593960 w 4593960"/>
              <a:gd name="connsiteY2-56" fmla="*/ 5146675 h 5146675"/>
              <a:gd name="connsiteX3-57" fmla="*/ 0 w 4593960"/>
              <a:gd name="connsiteY3-58" fmla="*/ 5098725 h 5146675"/>
              <a:gd name="connsiteX4-59" fmla="*/ 1820886 w 4593960"/>
              <a:gd name="connsiteY4-60" fmla="*/ 0 h 5146675"/>
              <a:gd name="connsiteX0-61" fmla="*/ 1886201 w 4659275"/>
              <a:gd name="connsiteY0-62" fmla="*/ 0 h 5146675"/>
              <a:gd name="connsiteX1-63" fmla="*/ 4659275 w 4659275"/>
              <a:gd name="connsiteY1-64" fmla="*/ 3175 h 5146675"/>
              <a:gd name="connsiteX2-65" fmla="*/ 4659275 w 4659275"/>
              <a:gd name="connsiteY2-66" fmla="*/ 5146675 h 5146675"/>
              <a:gd name="connsiteX3-67" fmla="*/ 0 w 4659275"/>
              <a:gd name="connsiteY3-68" fmla="*/ 5144687 h 5146675"/>
              <a:gd name="connsiteX4-69" fmla="*/ 1886201 w 4659275"/>
              <a:gd name="connsiteY4-70" fmla="*/ 0 h 5146675"/>
              <a:gd name="connsiteX0-71" fmla="*/ 1886201 w 4659275"/>
              <a:gd name="connsiteY0-72" fmla="*/ 0 h 5144687"/>
              <a:gd name="connsiteX1-73" fmla="*/ 4659275 w 4659275"/>
              <a:gd name="connsiteY1-74" fmla="*/ 3175 h 5144687"/>
              <a:gd name="connsiteX2-75" fmla="*/ 4591542 w 4659275"/>
              <a:gd name="connsiteY2-76" fmla="*/ 5086199 h 5144687"/>
              <a:gd name="connsiteX3-77" fmla="*/ 0 w 4659275"/>
              <a:gd name="connsiteY3-78" fmla="*/ 5144687 h 5144687"/>
              <a:gd name="connsiteX4-79" fmla="*/ 1886201 w 4659275"/>
              <a:gd name="connsiteY4-80" fmla="*/ 0 h 5144687"/>
              <a:gd name="connsiteX0-81" fmla="*/ 1886201 w 4661694"/>
              <a:gd name="connsiteY0-82" fmla="*/ 0 h 5144687"/>
              <a:gd name="connsiteX1-83" fmla="*/ 4659275 w 4661694"/>
              <a:gd name="connsiteY1-84" fmla="*/ 3175 h 5144687"/>
              <a:gd name="connsiteX2-85" fmla="*/ 4661694 w 4661694"/>
              <a:gd name="connsiteY2-86" fmla="*/ 5144256 h 5144687"/>
              <a:gd name="connsiteX3-87" fmla="*/ 0 w 4661694"/>
              <a:gd name="connsiteY3-88" fmla="*/ 5144687 h 5144687"/>
              <a:gd name="connsiteX4-89" fmla="*/ 1886201 w 4661694"/>
              <a:gd name="connsiteY4-90" fmla="*/ 0 h 5144687"/>
              <a:gd name="connsiteX0-91" fmla="*/ 1886201 w 4661694"/>
              <a:gd name="connsiteY0-92" fmla="*/ 0 h 5144687"/>
              <a:gd name="connsiteX1-93" fmla="*/ 4625408 w 4661694"/>
              <a:gd name="connsiteY1-94" fmla="*/ 41880 h 5144687"/>
              <a:gd name="connsiteX2-95" fmla="*/ 4661694 w 4661694"/>
              <a:gd name="connsiteY2-96" fmla="*/ 5144256 h 5144687"/>
              <a:gd name="connsiteX3-97" fmla="*/ 0 w 4661694"/>
              <a:gd name="connsiteY3-98" fmla="*/ 5144687 h 5144687"/>
              <a:gd name="connsiteX4-99" fmla="*/ 1886201 w 4661694"/>
              <a:gd name="connsiteY4-100" fmla="*/ 0 h 5144687"/>
              <a:gd name="connsiteX0-101" fmla="*/ 1886201 w 4661694"/>
              <a:gd name="connsiteY0-102" fmla="*/ 0 h 5144687"/>
              <a:gd name="connsiteX1-103" fmla="*/ 4659275 w 4661694"/>
              <a:gd name="connsiteY1-104" fmla="*/ 3175 h 5144687"/>
              <a:gd name="connsiteX2-105" fmla="*/ 4661694 w 4661694"/>
              <a:gd name="connsiteY2-106" fmla="*/ 5144256 h 5144687"/>
              <a:gd name="connsiteX3-107" fmla="*/ 0 w 4661694"/>
              <a:gd name="connsiteY3-108" fmla="*/ 5144687 h 5144687"/>
              <a:gd name="connsiteX4-109" fmla="*/ 1886201 w 4661694"/>
              <a:gd name="connsiteY4-110" fmla="*/ 0 h 5144687"/>
              <a:gd name="connsiteX0-111" fmla="*/ 1900716 w 4661694"/>
              <a:gd name="connsiteY0-112" fmla="*/ 37949 h 5141512"/>
              <a:gd name="connsiteX1-113" fmla="*/ 4659275 w 4661694"/>
              <a:gd name="connsiteY1-114" fmla="*/ 0 h 5141512"/>
              <a:gd name="connsiteX2-115" fmla="*/ 4661694 w 4661694"/>
              <a:gd name="connsiteY2-116" fmla="*/ 5141081 h 5141512"/>
              <a:gd name="connsiteX3-117" fmla="*/ 0 w 4661694"/>
              <a:gd name="connsiteY3-118" fmla="*/ 5141512 h 5141512"/>
              <a:gd name="connsiteX4-119" fmla="*/ 1900716 w 4661694"/>
              <a:gd name="connsiteY4-120" fmla="*/ 37949 h 5141512"/>
              <a:gd name="connsiteX0-121" fmla="*/ 1886201 w 4661694"/>
              <a:gd name="connsiteY0-122" fmla="*/ 1663 h 5141512"/>
              <a:gd name="connsiteX1-123" fmla="*/ 4659275 w 4661694"/>
              <a:gd name="connsiteY1-124" fmla="*/ 0 h 5141512"/>
              <a:gd name="connsiteX2-125" fmla="*/ 4661694 w 4661694"/>
              <a:gd name="connsiteY2-126" fmla="*/ 5141081 h 5141512"/>
              <a:gd name="connsiteX3-127" fmla="*/ 0 w 4661694"/>
              <a:gd name="connsiteY3-128" fmla="*/ 5141512 h 5141512"/>
              <a:gd name="connsiteX4-129" fmla="*/ 1886201 w 4661694"/>
              <a:gd name="connsiteY4-130" fmla="*/ 1663 h 5141512"/>
              <a:gd name="connsiteX0-131" fmla="*/ 1886201 w 4661694"/>
              <a:gd name="connsiteY0-132" fmla="*/ 1663 h 5141512"/>
              <a:gd name="connsiteX1-133" fmla="*/ 4659275 w 4661694"/>
              <a:gd name="connsiteY1-134" fmla="*/ 0 h 5141512"/>
              <a:gd name="connsiteX2-135" fmla="*/ 4661694 w 4661694"/>
              <a:gd name="connsiteY2-136" fmla="*/ 5141081 h 5141512"/>
              <a:gd name="connsiteX3-137" fmla="*/ 0 w 4661694"/>
              <a:gd name="connsiteY3-138" fmla="*/ 5141512 h 5141512"/>
              <a:gd name="connsiteX4-139" fmla="*/ 1886201 w 4661694"/>
              <a:gd name="connsiteY4-140" fmla="*/ 1663 h 5141512"/>
              <a:gd name="connsiteX0-141" fmla="*/ 1886201 w 4661694"/>
              <a:gd name="connsiteY0-142" fmla="*/ 1663 h 5143462"/>
              <a:gd name="connsiteX1-143" fmla="*/ 4659275 w 4661694"/>
              <a:gd name="connsiteY1-144" fmla="*/ 0 h 5143462"/>
              <a:gd name="connsiteX2-145" fmla="*/ 4661694 w 4661694"/>
              <a:gd name="connsiteY2-146" fmla="*/ 5143462 h 5143462"/>
              <a:gd name="connsiteX3-147" fmla="*/ 0 w 4661694"/>
              <a:gd name="connsiteY3-148" fmla="*/ 5141512 h 5143462"/>
              <a:gd name="connsiteX4-149" fmla="*/ 1886201 w 4661694"/>
              <a:gd name="connsiteY4-150" fmla="*/ 1663 h 5143462"/>
              <a:gd name="connsiteX0-151" fmla="*/ 1886201 w 4661694"/>
              <a:gd name="connsiteY0-152" fmla="*/ 1663 h 5141512"/>
              <a:gd name="connsiteX1-153" fmla="*/ 4659275 w 4661694"/>
              <a:gd name="connsiteY1-154" fmla="*/ 0 h 5141512"/>
              <a:gd name="connsiteX2-155" fmla="*/ 4661694 w 4661694"/>
              <a:gd name="connsiteY2-156" fmla="*/ 5141080 h 5141512"/>
              <a:gd name="connsiteX3-157" fmla="*/ 0 w 4661694"/>
              <a:gd name="connsiteY3-158" fmla="*/ 5141512 h 5141512"/>
              <a:gd name="connsiteX4-159" fmla="*/ 1886201 w 4661694"/>
              <a:gd name="connsiteY4-160" fmla="*/ 1663 h 5141512"/>
              <a:gd name="connsiteX0-161" fmla="*/ 1888582 w 4664075"/>
              <a:gd name="connsiteY0-162" fmla="*/ 1663 h 5141512"/>
              <a:gd name="connsiteX1-163" fmla="*/ 4661656 w 4664075"/>
              <a:gd name="connsiteY1-164" fmla="*/ 0 h 5141512"/>
              <a:gd name="connsiteX2-165" fmla="*/ 4664075 w 4664075"/>
              <a:gd name="connsiteY2-166" fmla="*/ 5141080 h 5141512"/>
              <a:gd name="connsiteX3-167" fmla="*/ 0 w 4664075"/>
              <a:gd name="connsiteY3-168" fmla="*/ 5141512 h 5141512"/>
              <a:gd name="connsiteX4-169" fmla="*/ 1888582 w 4664075"/>
              <a:gd name="connsiteY4-170" fmla="*/ 1663 h 514151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335"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  <a:endParaRPr lang="ru-RU" dirty="0"/>
          </a:p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" y="-347"/>
            <a:ext cx="8490759" cy="6857891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-1" fmla="*/ 0 w 6869152"/>
              <a:gd name="connsiteY0-2" fmla="*/ 0 h 6869152"/>
              <a:gd name="connsiteX1-3" fmla="*/ 6869152 w 6869152"/>
              <a:gd name="connsiteY1-4" fmla="*/ 0 h 6869152"/>
              <a:gd name="connsiteX2-5" fmla="*/ 5274528 w 6869152"/>
              <a:gd name="connsiteY2-6" fmla="*/ 6858001 h 6869152"/>
              <a:gd name="connsiteX3-7" fmla="*/ 0 w 6869152"/>
              <a:gd name="connsiteY3-8" fmla="*/ 6869152 h 6869152"/>
              <a:gd name="connsiteX4-9" fmla="*/ 0 w 6869152"/>
              <a:gd name="connsiteY4-10" fmla="*/ 0 h 6869152"/>
              <a:gd name="connsiteX0-11" fmla="*/ 0 w 6869152"/>
              <a:gd name="connsiteY0-12" fmla="*/ 0 h 6869153"/>
              <a:gd name="connsiteX1-13" fmla="*/ 6869152 w 6869152"/>
              <a:gd name="connsiteY1-14" fmla="*/ 0 h 6869153"/>
              <a:gd name="connsiteX2-15" fmla="*/ 4334177 w 6869152"/>
              <a:gd name="connsiteY2-16" fmla="*/ 6869153 h 6869153"/>
              <a:gd name="connsiteX3-17" fmla="*/ 0 w 6869152"/>
              <a:gd name="connsiteY3-18" fmla="*/ 6869152 h 6869153"/>
              <a:gd name="connsiteX4-19" fmla="*/ 0 w 6869152"/>
              <a:gd name="connsiteY4-20" fmla="*/ 0 h 6869153"/>
              <a:gd name="connsiteX0-21" fmla="*/ 0 w 6869152"/>
              <a:gd name="connsiteY0-22" fmla="*/ 0 h 6869152"/>
              <a:gd name="connsiteX1-23" fmla="*/ 6869152 w 6869152"/>
              <a:gd name="connsiteY1-24" fmla="*/ 0 h 6869152"/>
              <a:gd name="connsiteX2-25" fmla="*/ 5371493 w 6869152"/>
              <a:gd name="connsiteY2-26" fmla="*/ 6858002 h 6869152"/>
              <a:gd name="connsiteX3-27" fmla="*/ 0 w 6869152"/>
              <a:gd name="connsiteY3-28" fmla="*/ 6869152 h 6869152"/>
              <a:gd name="connsiteX4-29" fmla="*/ 0 w 6869152"/>
              <a:gd name="connsiteY4-30" fmla="*/ 0 h 6869152"/>
              <a:gd name="connsiteX0-31" fmla="*/ 0 w 7632391"/>
              <a:gd name="connsiteY0-32" fmla="*/ 0 h 6869152"/>
              <a:gd name="connsiteX1-33" fmla="*/ 7632391 w 7632391"/>
              <a:gd name="connsiteY1-34" fmla="*/ 11151 h 6869152"/>
              <a:gd name="connsiteX2-35" fmla="*/ 5371493 w 7632391"/>
              <a:gd name="connsiteY2-36" fmla="*/ 6858002 h 6869152"/>
              <a:gd name="connsiteX3-37" fmla="*/ 0 w 7632391"/>
              <a:gd name="connsiteY3-38" fmla="*/ 6869152 h 6869152"/>
              <a:gd name="connsiteX4-39" fmla="*/ 0 w 7632391"/>
              <a:gd name="connsiteY4-40" fmla="*/ 0 h 6869152"/>
              <a:gd name="connsiteX0-41" fmla="*/ 0 w 7629198"/>
              <a:gd name="connsiteY0-42" fmla="*/ 0 h 6869152"/>
              <a:gd name="connsiteX1-43" fmla="*/ 7629198 w 7629198"/>
              <a:gd name="connsiteY1-44" fmla="*/ 21754 h 6869152"/>
              <a:gd name="connsiteX2-45" fmla="*/ 5371493 w 7629198"/>
              <a:gd name="connsiteY2-46" fmla="*/ 6858002 h 6869152"/>
              <a:gd name="connsiteX3-47" fmla="*/ 0 w 7629198"/>
              <a:gd name="connsiteY3-48" fmla="*/ 6869152 h 6869152"/>
              <a:gd name="connsiteX4-49" fmla="*/ 0 w 7629198"/>
              <a:gd name="connsiteY4-50" fmla="*/ 0 h 6869152"/>
              <a:gd name="connsiteX0-51" fmla="*/ 31928 w 7629198"/>
              <a:gd name="connsiteY0-52" fmla="*/ 20655 h 6847398"/>
              <a:gd name="connsiteX1-53" fmla="*/ 7629198 w 7629198"/>
              <a:gd name="connsiteY1-54" fmla="*/ 0 h 6847398"/>
              <a:gd name="connsiteX2-55" fmla="*/ 5371493 w 7629198"/>
              <a:gd name="connsiteY2-56" fmla="*/ 6836248 h 6847398"/>
              <a:gd name="connsiteX3-57" fmla="*/ 0 w 7629198"/>
              <a:gd name="connsiteY3-58" fmla="*/ 6847398 h 6847398"/>
              <a:gd name="connsiteX4-59" fmla="*/ 31928 w 7629198"/>
              <a:gd name="connsiteY4-60" fmla="*/ 20655 h 6847398"/>
              <a:gd name="connsiteX0-61" fmla="*/ 0 w 7629198"/>
              <a:gd name="connsiteY0-62" fmla="*/ 2985 h 6847398"/>
              <a:gd name="connsiteX1-63" fmla="*/ 7629198 w 7629198"/>
              <a:gd name="connsiteY1-64" fmla="*/ 0 h 6847398"/>
              <a:gd name="connsiteX2-65" fmla="*/ 5371493 w 7629198"/>
              <a:gd name="connsiteY2-66" fmla="*/ 6836248 h 6847398"/>
              <a:gd name="connsiteX3-67" fmla="*/ 0 w 7629198"/>
              <a:gd name="connsiteY3-68" fmla="*/ 6847398 h 6847398"/>
              <a:gd name="connsiteX4-69" fmla="*/ 0 w 7629198"/>
              <a:gd name="connsiteY4-70" fmla="*/ 2985 h 6847398"/>
              <a:gd name="connsiteX0-71" fmla="*/ 34766 w 7629198"/>
              <a:gd name="connsiteY0-72" fmla="*/ 31848 h 6847398"/>
              <a:gd name="connsiteX1-73" fmla="*/ 7629198 w 7629198"/>
              <a:gd name="connsiteY1-74" fmla="*/ 0 h 6847398"/>
              <a:gd name="connsiteX2-75" fmla="*/ 5371493 w 7629198"/>
              <a:gd name="connsiteY2-76" fmla="*/ 6836248 h 6847398"/>
              <a:gd name="connsiteX3-77" fmla="*/ 0 w 7629198"/>
              <a:gd name="connsiteY3-78" fmla="*/ 6847398 h 6847398"/>
              <a:gd name="connsiteX4-79" fmla="*/ 34766 w 7629198"/>
              <a:gd name="connsiteY4-80" fmla="*/ 31848 h 6847398"/>
              <a:gd name="connsiteX0-81" fmla="*/ 2897 w 7629198"/>
              <a:gd name="connsiteY0-82" fmla="*/ 2985 h 6847398"/>
              <a:gd name="connsiteX1-83" fmla="*/ 7629198 w 7629198"/>
              <a:gd name="connsiteY1-84" fmla="*/ 0 h 6847398"/>
              <a:gd name="connsiteX2-85" fmla="*/ 5371493 w 7629198"/>
              <a:gd name="connsiteY2-86" fmla="*/ 6836248 h 6847398"/>
              <a:gd name="connsiteX3-87" fmla="*/ 0 w 7629198"/>
              <a:gd name="connsiteY3-88" fmla="*/ 6847398 h 6847398"/>
              <a:gd name="connsiteX4-89" fmla="*/ 2897 w 7629198"/>
              <a:gd name="connsiteY4-90" fmla="*/ 2985 h 6847398"/>
              <a:gd name="connsiteX0-91" fmla="*/ 19 w 7626320"/>
              <a:gd name="connsiteY0-92" fmla="*/ 2985 h 6836248"/>
              <a:gd name="connsiteX1-93" fmla="*/ 7626320 w 7626320"/>
              <a:gd name="connsiteY1-94" fmla="*/ 0 h 6836248"/>
              <a:gd name="connsiteX2-95" fmla="*/ 5368615 w 7626320"/>
              <a:gd name="connsiteY2-96" fmla="*/ 6836248 h 6836248"/>
              <a:gd name="connsiteX3-97" fmla="*/ 34785 w 7626320"/>
              <a:gd name="connsiteY3-98" fmla="*/ 6786467 h 6836248"/>
              <a:gd name="connsiteX4-99" fmla="*/ 19 w 7626320"/>
              <a:gd name="connsiteY4-100" fmla="*/ 2985 h 6836248"/>
              <a:gd name="connsiteX0-101" fmla="*/ 278 w 7626579"/>
              <a:gd name="connsiteY0-102" fmla="*/ 2985 h 6836248"/>
              <a:gd name="connsiteX1-103" fmla="*/ 7626579 w 7626579"/>
              <a:gd name="connsiteY1-104" fmla="*/ 0 h 6836248"/>
              <a:gd name="connsiteX2-105" fmla="*/ 5368874 w 7626579"/>
              <a:gd name="connsiteY2-106" fmla="*/ 6836248 h 6836248"/>
              <a:gd name="connsiteX3-107" fmla="*/ 278 w 7626579"/>
              <a:gd name="connsiteY3-108" fmla="*/ 6818536 h 6836248"/>
              <a:gd name="connsiteX4-109" fmla="*/ 278 w 7626579"/>
              <a:gd name="connsiteY4-110" fmla="*/ 2985 h 6836248"/>
              <a:gd name="connsiteX0-111" fmla="*/ 278 w 7626579"/>
              <a:gd name="connsiteY0-112" fmla="*/ 2985 h 6818536"/>
              <a:gd name="connsiteX1-113" fmla="*/ 7626579 w 7626579"/>
              <a:gd name="connsiteY1-114" fmla="*/ 0 h 6818536"/>
              <a:gd name="connsiteX2-115" fmla="*/ 5368874 w 7626579"/>
              <a:gd name="connsiteY2-116" fmla="*/ 6817007 h 6818536"/>
              <a:gd name="connsiteX3-117" fmla="*/ 278 w 7626579"/>
              <a:gd name="connsiteY3-118" fmla="*/ 6818536 h 6818536"/>
              <a:gd name="connsiteX4-119" fmla="*/ 278 w 7626579"/>
              <a:gd name="connsiteY4-120" fmla="*/ 2985 h 681853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7593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Hero Light" panose="00000300000000000000" pitchFamily="50" charset="-52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972" y="6202934"/>
            <a:ext cx="2134821" cy="48758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0033" t="9372" r="21558" b="10839"/>
          <a:stretch>
            <a:fillRect/>
          </a:stretch>
        </p:blipFill>
        <p:spPr>
          <a:xfrm>
            <a:off x="637015" y="296863"/>
            <a:ext cx="803275" cy="1323976"/>
          </a:xfrm>
          <a:prstGeom prst="rect">
            <a:avLst/>
          </a:prstGeom>
        </p:spPr>
      </p:pic>
      <p:sp>
        <p:nvSpPr>
          <p:cNvPr id="9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657743" y="2363238"/>
            <a:ext cx="7833016" cy="280096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6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, чтобы добавить заголовок</a:t>
            </a:r>
            <a:endParaRPr lang="ru-RU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4481720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</p:spTree>
  </p:cSld>
  <p:clrMapOvr>
    <a:masterClrMapping/>
  </p:clrMapOvr>
  <p:transition spd="med"/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4CBDA-072C-4B00-B09C-9CADB3326181}" type="datetime1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45ED7-1EF6-4D03-8308-3DD7B5FC03EB}" type="datetime1">
              <a:rPr lang="ru-RU" smtClean="0"/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A3FB4-4F93-480D-983F-747517C2B4F1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68CEA-ED9A-46CB-8E68-EDAF3D6EA3FB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AFB22-69CF-490E-BFF9-2AF8A13FA889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BE34-63EC-4F5C-942A-6B12EC93CA4E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91B08-7AC1-6D4A-B34A-188C37328BB5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21"/>
          <p:cNvSpPr>
            <a:spLocks noGrp="1"/>
          </p:cNvSpPr>
          <p:nvPr>
            <p:ph type="pic" sz="quarter" idx="11" hasCustomPrompt="1"/>
          </p:nvPr>
        </p:nvSpPr>
        <p:spPr>
          <a:xfrm>
            <a:off x="5971142" y="0"/>
            <a:ext cx="6224084" cy="68592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-1" fmla="*/ 2235941 w 5005840"/>
              <a:gd name="connsiteY0-2" fmla="*/ 0 h 5143500"/>
              <a:gd name="connsiteX1-3" fmla="*/ 5005840 w 5005840"/>
              <a:gd name="connsiteY1-4" fmla="*/ 0 h 5143500"/>
              <a:gd name="connsiteX2-5" fmla="*/ 5005840 w 5005840"/>
              <a:gd name="connsiteY2-6" fmla="*/ 5143500 h 5143500"/>
              <a:gd name="connsiteX3-7" fmla="*/ 0 w 5005840"/>
              <a:gd name="connsiteY3-8" fmla="*/ 5143500 h 5143500"/>
              <a:gd name="connsiteX4-9" fmla="*/ 2235941 w 5005840"/>
              <a:gd name="connsiteY4-10" fmla="*/ 0 h 5143500"/>
              <a:gd name="connsiteX0-11" fmla="*/ 1882195 w 4652094"/>
              <a:gd name="connsiteY0-12" fmla="*/ 0 h 5143500"/>
              <a:gd name="connsiteX1-13" fmla="*/ 4652094 w 4652094"/>
              <a:gd name="connsiteY1-14" fmla="*/ 0 h 5143500"/>
              <a:gd name="connsiteX2-15" fmla="*/ 4652094 w 4652094"/>
              <a:gd name="connsiteY2-16" fmla="*/ 5143500 h 5143500"/>
              <a:gd name="connsiteX3-17" fmla="*/ 0 w 4652094"/>
              <a:gd name="connsiteY3-18" fmla="*/ 5136825 h 5143500"/>
              <a:gd name="connsiteX4-19" fmla="*/ 1882195 w 4652094"/>
              <a:gd name="connsiteY4-20" fmla="*/ 0 h 5143500"/>
              <a:gd name="connsiteX0-21" fmla="*/ 1839332 w 4609231"/>
              <a:gd name="connsiteY0-22" fmla="*/ 0 h 5167782"/>
              <a:gd name="connsiteX1-23" fmla="*/ 4609231 w 4609231"/>
              <a:gd name="connsiteY1-24" fmla="*/ 0 h 5167782"/>
              <a:gd name="connsiteX2-25" fmla="*/ 4609231 w 4609231"/>
              <a:gd name="connsiteY2-26" fmla="*/ 5143500 h 5167782"/>
              <a:gd name="connsiteX3-27" fmla="*/ 0 w 4609231"/>
              <a:gd name="connsiteY3-28" fmla="*/ 5167782 h 5167782"/>
              <a:gd name="connsiteX4-29" fmla="*/ 1839332 w 4609231"/>
              <a:gd name="connsiteY4-30" fmla="*/ 0 h 5167782"/>
              <a:gd name="connsiteX0-31" fmla="*/ 1886957 w 4656856"/>
              <a:gd name="connsiteY0-32" fmla="*/ 0 h 5146350"/>
              <a:gd name="connsiteX1-33" fmla="*/ 4656856 w 4656856"/>
              <a:gd name="connsiteY1-34" fmla="*/ 0 h 5146350"/>
              <a:gd name="connsiteX2-35" fmla="*/ 4656856 w 4656856"/>
              <a:gd name="connsiteY2-36" fmla="*/ 5143500 h 5146350"/>
              <a:gd name="connsiteX3-37" fmla="*/ 0 w 4656856"/>
              <a:gd name="connsiteY3-38" fmla="*/ 5146350 h 5146350"/>
              <a:gd name="connsiteX4-39" fmla="*/ 1886957 w 4656856"/>
              <a:gd name="connsiteY4-40" fmla="*/ 0 h 5146350"/>
              <a:gd name="connsiteX0-41" fmla="*/ 1883782 w 4656856"/>
              <a:gd name="connsiteY0-42" fmla="*/ 0 h 5149525"/>
              <a:gd name="connsiteX1-43" fmla="*/ 4656856 w 4656856"/>
              <a:gd name="connsiteY1-44" fmla="*/ 3175 h 5149525"/>
              <a:gd name="connsiteX2-45" fmla="*/ 4656856 w 4656856"/>
              <a:gd name="connsiteY2-46" fmla="*/ 5146675 h 5149525"/>
              <a:gd name="connsiteX3-47" fmla="*/ 0 w 4656856"/>
              <a:gd name="connsiteY3-48" fmla="*/ 5149525 h 5149525"/>
              <a:gd name="connsiteX4-49" fmla="*/ 1883782 w 4656856"/>
              <a:gd name="connsiteY4-50" fmla="*/ 0 h 5149525"/>
              <a:gd name="connsiteX0-51" fmla="*/ 1820886 w 4593960"/>
              <a:gd name="connsiteY0-52" fmla="*/ 0 h 5146675"/>
              <a:gd name="connsiteX1-53" fmla="*/ 4593960 w 4593960"/>
              <a:gd name="connsiteY1-54" fmla="*/ 3175 h 5146675"/>
              <a:gd name="connsiteX2-55" fmla="*/ 4593960 w 4593960"/>
              <a:gd name="connsiteY2-56" fmla="*/ 5146675 h 5146675"/>
              <a:gd name="connsiteX3-57" fmla="*/ 0 w 4593960"/>
              <a:gd name="connsiteY3-58" fmla="*/ 5098725 h 5146675"/>
              <a:gd name="connsiteX4-59" fmla="*/ 1820886 w 4593960"/>
              <a:gd name="connsiteY4-60" fmla="*/ 0 h 5146675"/>
              <a:gd name="connsiteX0-61" fmla="*/ 1886201 w 4659275"/>
              <a:gd name="connsiteY0-62" fmla="*/ 0 h 5146675"/>
              <a:gd name="connsiteX1-63" fmla="*/ 4659275 w 4659275"/>
              <a:gd name="connsiteY1-64" fmla="*/ 3175 h 5146675"/>
              <a:gd name="connsiteX2-65" fmla="*/ 4659275 w 4659275"/>
              <a:gd name="connsiteY2-66" fmla="*/ 5146675 h 5146675"/>
              <a:gd name="connsiteX3-67" fmla="*/ 0 w 4659275"/>
              <a:gd name="connsiteY3-68" fmla="*/ 5144687 h 5146675"/>
              <a:gd name="connsiteX4-69" fmla="*/ 1886201 w 4659275"/>
              <a:gd name="connsiteY4-70" fmla="*/ 0 h 5146675"/>
              <a:gd name="connsiteX0-71" fmla="*/ 1886201 w 4659275"/>
              <a:gd name="connsiteY0-72" fmla="*/ 0 h 5144687"/>
              <a:gd name="connsiteX1-73" fmla="*/ 4659275 w 4659275"/>
              <a:gd name="connsiteY1-74" fmla="*/ 3175 h 5144687"/>
              <a:gd name="connsiteX2-75" fmla="*/ 4591542 w 4659275"/>
              <a:gd name="connsiteY2-76" fmla="*/ 5086199 h 5144687"/>
              <a:gd name="connsiteX3-77" fmla="*/ 0 w 4659275"/>
              <a:gd name="connsiteY3-78" fmla="*/ 5144687 h 5144687"/>
              <a:gd name="connsiteX4-79" fmla="*/ 1886201 w 4659275"/>
              <a:gd name="connsiteY4-80" fmla="*/ 0 h 5144687"/>
              <a:gd name="connsiteX0-81" fmla="*/ 1886201 w 4661694"/>
              <a:gd name="connsiteY0-82" fmla="*/ 0 h 5144687"/>
              <a:gd name="connsiteX1-83" fmla="*/ 4659275 w 4661694"/>
              <a:gd name="connsiteY1-84" fmla="*/ 3175 h 5144687"/>
              <a:gd name="connsiteX2-85" fmla="*/ 4661694 w 4661694"/>
              <a:gd name="connsiteY2-86" fmla="*/ 5144256 h 5144687"/>
              <a:gd name="connsiteX3-87" fmla="*/ 0 w 4661694"/>
              <a:gd name="connsiteY3-88" fmla="*/ 5144687 h 5144687"/>
              <a:gd name="connsiteX4-89" fmla="*/ 1886201 w 4661694"/>
              <a:gd name="connsiteY4-90" fmla="*/ 0 h 5144687"/>
              <a:gd name="connsiteX0-91" fmla="*/ 1886201 w 4661694"/>
              <a:gd name="connsiteY0-92" fmla="*/ 0 h 5144687"/>
              <a:gd name="connsiteX1-93" fmla="*/ 4625408 w 4661694"/>
              <a:gd name="connsiteY1-94" fmla="*/ 41880 h 5144687"/>
              <a:gd name="connsiteX2-95" fmla="*/ 4661694 w 4661694"/>
              <a:gd name="connsiteY2-96" fmla="*/ 5144256 h 5144687"/>
              <a:gd name="connsiteX3-97" fmla="*/ 0 w 4661694"/>
              <a:gd name="connsiteY3-98" fmla="*/ 5144687 h 5144687"/>
              <a:gd name="connsiteX4-99" fmla="*/ 1886201 w 4661694"/>
              <a:gd name="connsiteY4-100" fmla="*/ 0 h 5144687"/>
              <a:gd name="connsiteX0-101" fmla="*/ 1886201 w 4661694"/>
              <a:gd name="connsiteY0-102" fmla="*/ 0 h 5144687"/>
              <a:gd name="connsiteX1-103" fmla="*/ 4659275 w 4661694"/>
              <a:gd name="connsiteY1-104" fmla="*/ 3175 h 5144687"/>
              <a:gd name="connsiteX2-105" fmla="*/ 4661694 w 4661694"/>
              <a:gd name="connsiteY2-106" fmla="*/ 5144256 h 5144687"/>
              <a:gd name="connsiteX3-107" fmla="*/ 0 w 4661694"/>
              <a:gd name="connsiteY3-108" fmla="*/ 5144687 h 5144687"/>
              <a:gd name="connsiteX4-109" fmla="*/ 1886201 w 4661694"/>
              <a:gd name="connsiteY4-110" fmla="*/ 0 h 5144687"/>
              <a:gd name="connsiteX0-111" fmla="*/ 1900716 w 4661694"/>
              <a:gd name="connsiteY0-112" fmla="*/ 37949 h 5141512"/>
              <a:gd name="connsiteX1-113" fmla="*/ 4659275 w 4661694"/>
              <a:gd name="connsiteY1-114" fmla="*/ 0 h 5141512"/>
              <a:gd name="connsiteX2-115" fmla="*/ 4661694 w 4661694"/>
              <a:gd name="connsiteY2-116" fmla="*/ 5141081 h 5141512"/>
              <a:gd name="connsiteX3-117" fmla="*/ 0 w 4661694"/>
              <a:gd name="connsiteY3-118" fmla="*/ 5141512 h 5141512"/>
              <a:gd name="connsiteX4-119" fmla="*/ 1900716 w 4661694"/>
              <a:gd name="connsiteY4-120" fmla="*/ 37949 h 5141512"/>
              <a:gd name="connsiteX0-121" fmla="*/ 1886201 w 4661694"/>
              <a:gd name="connsiteY0-122" fmla="*/ 1663 h 5141512"/>
              <a:gd name="connsiteX1-123" fmla="*/ 4659275 w 4661694"/>
              <a:gd name="connsiteY1-124" fmla="*/ 0 h 5141512"/>
              <a:gd name="connsiteX2-125" fmla="*/ 4661694 w 4661694"/>
              <a:gd name="connsiteY2-126" fmla="*/ 5141081 h 5141512"/>
              <a:gd name="connsiteX3-127" fmla="*/ 0 w 4661694"/>
              <a:gd name="connsiteY3-128" fmla="*/ 5141512 h 5141512"/>
              <a:gd name="connsiteX4-129" fmla="*/ 1886201 w 4661694"/>
              <a:gd name="connsiteY4-130" fmla="*/ 1663 h 5141512"/>
              <a:gd name="connsiteX0-131" fmla="*/ 1886201 w 4661694"/>
              <a:gd name="connsiteY0-132" fmla="*/ 1663 h 5141512"/>
              <a:gd name="connsiteX1-133" fmla="*/ 4659275 w 4661694"/>
              <a:gd name="connsiteY1-134" fmla="*/ 0 h 5141512"/>
              <a:gd name="connsiteX2-135" fmla="*/ 4661694 w 4661694"/>
              <a:gd name="connsiteY2-136" fmla="*/ 5141081 h 5141512"/>
              <a:gd name="connsiteX3-137" fmla="*/ 0 w 4661694"/>
              <a:gd name="connsiteY3-138" fmla="*/ 5141512 h 5141512"/>
              <a:gd name="connsiteX4-139" fmla="*/ 1886201 w 4661694"/>
              <a:gd name="connsiteY4-140" fmla="*/ 1663 h 5141512"/>
              <a:gd name="connsiteX0-141" fmla="*/ 1886201 w 4661694"/>
              <a:gd name="connsiteY0-142" fmla="*/ 1663 h 5143462"/>
              <a:gd name="connsiteX1-143" fmla="*/ 4659275 w 4661694"/>
              <a:gd name="connsiteY1-144" fmla="*/ 0 h 5143462"/>
              <a:gd name="connsiteX2-145" fmla="*/ 4661694 w 4661694"/>
              <a:gd name="connsiteY2-146" fmla="*/ 5143462 h 5143462"/>
              <a:gd name="connsiteX3-147" fmla="*/ 0 w 4661694"/>
              <a:gd name="connsiteY3-148" fmla="*/ 5141512 h 5143462"/>
              <a:gd name="connsiteX4-149" fmla="*/ 1886201 w 4661694"/>
              <a:gd name="connsiteY4-150" fmla="*/ 1663 h 5143462"/>
              <a:gd name="connsiteX0-151" fmla="*/ 1886201 w 4661694"/>
              <a:gd name="connsiteY0-152" fmla="*/ 1663 h 5141512"/>
              <a:gd name="connsiteX1-153" fmla="*/ 4659275 w 4661694"/>
              <a:gd name="connsiteY1-154" fmla="*/ 0 h 5141512"/>
              <a:gd name="connsiteX2-155" fmla="*/ 4661694 w 4661694"/>
              <a:gd name="connsiteY2-156" fmla="*/ 5141080 h 5141512"/>
              <a:gd name="connsiteX3-157" fmla="*/ 0 w 4661694"/>
              <a:gd name="connsiteY3-158" fmla="*/ 5141512 h 5141512"/>
              <a:gd name="connsiteX4-159" fmla="*/ 1886201 w 4661694"/>
              <a:gd name="connsiteY4-160" fmla="*/ 1663 h 5141512"/>
              <a:gd name="connsiteX0-161" fmla="*/ 1888582 w 4664075"/>
              <a:gd name="connsiteY0-162" fmla="*/ 1663 h 5141512"/>
              <a:gd name="connsiteX1-163" fmla="*/ 4661656 w 4664075"/>
              <a:gd name="connsiteY1-164" fmla="*/ 0 h 5141512"/>
              <a:gd name="connsiteX2-165" fmla="*/ 4664075 w 4664075"/>
              <a:gd name="connsiteY2-166" fmla="*/ 5141080 h 5141512"/>
              <a:gd name="connsiteX3-167" fmla="*/ 0 w 4664075"/>
              <a:gd name="connsiteY3-168" fmla="*/ 5141512 h 5141512"/>
              <a:gd name="connsiteX4-169" fmla="*/ 1888582 w 4664075"/>
              <a:gd name="connsiteY4-170" fmla="*/ 1663 h 514151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335"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  <a:endParaRPr lang="ru-RU" dirty="0"/>
          </a:p>
          <a:p>
            <a:endParaRPr lang="ru-RU" dirty="0"/>
          </a:p>
        </p:txBody>
      </p:sp>
      <p:sp>
        <p:nvSpPr>
          <p:cNvPr id="14" name="Прямоугольник 6"/>
          <p:cNvSpPr/>
          <p:nvPr/>
        </p:nvSpPr>
        <p:spPr>
          <a:xfrm>
            <a:off x="1" y="-347"/>
            <a:ext cx="8490759" cy="6857891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-1" fmla="*/ 0 w 6869152"/>
              <a:gd name="connsiteY0-2" fmla="*/ 0 h 6869152"/>
              <a:gd name="connsiteX1-3" fmla="*/ 6869152 w 6869152"/>
              <a:gd name="connsiteY1-4" fmla="*/ 0 h 6869152"/>
              <a:gd name="connsiteX2-5" fmla="*/ 5274528 w 6869152"/>
              <a:gd name="connsiteY2-6" fmla="*/ 6858001 h 6869152"/>
              <a:gd name="connsiteX3-7" fmla="*/ 0 w 6869152"/>
              <a:gd name="connsiteY3-8" fmla="*/ 6869152 h 6869152"/>
              <a:gd name="connsiteX4-9" fmla="*/ 0 w 6869152"/>
              <a:gd name="connsiteY4-10" fmla="*/ 0 h 6869152"/>
              <a:gd name="connsiteX0-11" fmla="*/ 0 w 6869152"/>
              <a:gd name="connsiteY0-12" fmla="*/ 0 h 6869153"/>
              <a:gd name="connsiteX1-13" fmla="*/ 6869152 w 6869152"/>
              <a:gd name="connsiteY1-14" fmla="*/ 0 h 6869153"/>
              <a:gd name="connsiteX2-15" fmla="*/ 4334177 w 6869152"/>
              <a:gd name="connsiteY2-16" fmla="*/ 6869153 h 6869153"/>
              <a:gd name="connsiteX3-17" fmla="*/ 0 w 6869152"/>
              <a:gd name="connsiteY3-18" fmla="*/ 6869152 h 6869153"/>
              <a:gd name="connsiteX4-19" fmla="*/ 0 w 6869152"/>
              <a:gd name="connsiteY4-20" fmla="*/ 0 h 6869153"/>
              <a:gd name="connsiteX0-21" fmla="*/ 0 w 6869152"/>
              <a:gd name="connsiteY0-22" fmla="*/ 0 h 6869152"/>
              <a:gd name="connsiteX1-23" fmla="*/ 6869152 w 6869152"/>
              <a:gd name="connsiteY1-24" fmla="*/ 0 h 6869152"/>
              <a:gd name="connsiteX2-25" fmla="*/ 5371493 w 6869152"/>
              <a:gd name="connsiteY2-26" fmla="*/ 6858002 h 6869152"/>
              <a:gd name="connsiteX3-27" fmla="*/ 0 w 6869152"/>
              <a:gd name="connsiteY3-28" fmla="*/ 6869152 h 6869152"/>
              <a:gd name="connsiteX4-29" fmla="*/ 0 w 6869152"/>
              <a:gd name="connsiteY4-30" fmla="*/ 0 h 6869152"/>
              <a:gd name="connsiteX0-31" fmla="*/ 0 w 7632391"/>
              <a:gd name="connsiteY0-32" fmla="*/ 0 h 6869152"/>
              <a:gd name="connsiteX1-33" fmla="*/ 7632391 w 7632391"/>
              <a:gd name="connsiteY1-34" fmla="*/ 11151 h 6869152"/>
              <a:gd name="connsiteX2-35" fmla="*/ 5371493 w 7632391"/>
              <a:gd name="connsiteY2-36" fmla="*/ 6858002 h 6869152"/>
              <a:gd name="connsiteX3-37" fmla="*/ 0 w 7632391"/>
              <a:gd name="connsiteY3-38" fmla="*/ 6869152 h 6869152"/>
              <a:gd name="connsiteX4-39" fmla="*/ 0 w 7632391"/>
              <a:gd name="connsiteY4-40" fmla="*/ 0 h 6869152"/>
              <a:gd name="connsiteX0-41" fmla="*/ 0 w 7629198"/>
              <a:gd name="connsiteY0-42" fmla="*/ 0 h 6869152"/>
              <a:gd name="connsiteX1-43" fmla="*/ 7629198 w 7629198"/>
              <a:gd name="connsiteY1-44" fmla="*/ 21754 h 6869152"/>
              <a:gd name="connsiteX2-45" fmla="*/ 5371493 w 7629198"/>
              <a:gd name="connsiteY2-46" fmla="*/ 6858002 h 6869152"/>
              <a:gd name="connsiteX3-47" fmla="*/ 0 w 7629198"/>
              <a:gd name="connsiteY3-48" fmla="*/ 6869152 h 6869152"/>
              <a:gd name="connsiteX4-49" fmla="*/ 0 w 7629198"/>
              <a:gd name="connsiteY4-50" fmla="*/ 0 h 6869152"/>
              <a:gd name="connsiteX0-51" fmla="*/ 31928 w 7629198"/>
              <a:gd name="connsiteY0-52" fmla="*/ 20655 h 6847398"/>
              <a:gd name="connsiteX1-53" fmla="*/ 7629198 w 7629198"/>
              <a:gd name="connsiteY1-54" fmla="*/ 0 h 6847398"/>
              <a:gd name="connsiteX2-55" fmla="*/ 5371493 w 7629198"/>
              <a:gd name="connsiteY2-56" fmla="*/ 6836248 h 6847398"/>
              <a:gd name="connsiteX3-57" fmla="*/ 0 w 7629198"/>
              <a:gd name="connsiteY3-58" fmla="*/ 6847398 h 6847398"/>
              <a:gd name="connsiteX4-59" fmla="*/ 31928 w 7629198"/>
              <a:gd name="connsiteY4-60" fmla="*/ 20655 h 6847398"/>
              <a:gd name="connsiteX0-61" fmla="*/ 0 w 7629198"/>
              <a:gd name="connsiteY0-62" fmla="*/ 2985 h 6847398"/>
              <a:gd name="connsiteX1-63" fmla="*/ 7629198 w 7629198"/>
              <a:gd name="connsiteY1-64" fmla="*/ 0 h 6847398"/>
              <a:gd name="connsiteX2-65" fmla="*/ 5371493 w 7629198"/>
              <a:gd name="connsiteY2-66" fmla="*/ 6836248 h 6847398"/>
              <a:gd name="connsiteX3-67" fmla="*/ 0 w 7629198"/>
              <a:gd name="connsiteY3-68" fmla="*/ 6847398 h 6847398"/>
              <a:gd name="connsiteX4-69" fmla="*/ 0 w 7629198"/>
              <a:gd name="connsiteY4-70" fmla="*/ 2985 h 6847398"/>
              <a:gd name="connsiteX0-71" fmla="*/ 34766 w 7629198"/>
              <a:gd name="connsiteY0-72" fmla="*/ 31848 h 6847398"/>
              <a:gd name="connsiteX1-73" fmla="*/ 7629198 w 7629198"/>
              <a:gd name="connsiteY1-74" fmla="*/ 0 h 6847398"/>
              <a:gd name="connsiteX2-75" fmla="*/ 5371493 w 7629198"/>
              <a:gd name="connsiteY2-76" fmla="*/ 6836248 h 6847398"/>
              <a:gd name="connsiteX3-77" fmla="*/ 0 w 7629198"/>
              <a:gd name="connsiteY3-78" fmla="*/ 6847398 h 6847398"/>
              <a:gd name="connsiteX4-79" fmla="*/ 34766 w 7629198"/>
              <a:gd name="connsiteY4-80" fmla="*/ 31848 h 6847398"/>
              <a:gd name="connsiteX0-81" fmla="*/ 2897 w 7629198"/>
              <a:gd name="connsiteY0-82" fmla="*/ 2985 h 6847398"/>
              <a:gd name="connsiteX1-83" fmla="*/ 7629198 w 7629198"/>
              <a:gd name="connsiteY1-84" fmla="*/ 0 h 6847398"/>
              <a:gd name="connsiteX2-85" fmla="*/ 5371493 w 7629198"/>
              <a:gd name="connsiteY2-86" fmla="*/ 6836248 h 6847398"/>
              <a:gd name="connsiteX3-87" fmla="*/ 0 w 7629198"/>
              <a:gd name="connsiteY3-88" fmla="*/ 6847398 h 6847398"/>
              <a:gd name="connsiteX4-89" fmla="*/ 2897 w 7629198"/>
              <a:gd name="connsiteY4-90" fmla="*/ 2985 h 6847398"/>
              <a:gd name="connsiteX0-91" fmla="*/ 19 w 7626320"/>
              <a:gd name="connsiteY0-92" fmla="*/ 2985 h 6836248"/>
              <a:gd name="connsiteX1-93" fmla="*/ 7626320 w 7626320"/>
              <a:gd name="connsiteY1-94" fmla="*/ 0 h 6836248"/>
              <a:gd name="connsiteX2-95" fmla="*/ 5368615 w 7626320"/>
              <a:gd name="connsiteY2-96" fmla="*/ 6836248 h 6836248"/>
              <a:gd name="connsiteX3-97" fmla="*/ 34785 w 7626320"/>
              <a:gd name="connsiteY3-98" fmla="*/ 6786467 h 6836248"/>
              <a:gd name="connsiteX4-99" fmla="*/ 19 w 7626320"/>
              <a:gd name="connsiteY4-100" fmla="*/ 2985 h 6836248"/>
              <a:gd name="connsiteX0-101" fmla="*/ 278 w 7626579"/>
              <a:gd name="connsiteY0-102" fmla="*/ 2985 h 6836248"/>
              <a:gd name="connsiteX1-103" fmla="*/ 7626579 w 7626579"/>
              <a:gd name="connsiteY1-104" fmla="*/ 0 h 6836248"/>
              <a:gd name="connsiteX2-105" fmla="*/ 5368874 w 7626579"/>
              <a:gd name="connsiteY2-106" fmla="*/ 6836248 h 6836248"/>
              <a:gd name="connsiteX3-107" fmla="*/ 278 w 7626579"/>
              <a:gd name="connsiteY3-108" fmla="*/ 6818536 h 6836248"/>
              <a:gd name="connsiteX4-109" fmla="*/ 278 w 7626579"/>
              <a:gd name="connsiteY4-110" fmla="*/ 2985 h 6836248"/>
              <a:gd name="connsiteX0-111" fmla="*/ 278 w 7626579"/>
              <a:gd name="connsiteY0-112" fmla="*/ 2985 h 6818536"/>
              <a:gd name="connsiteX1-113" fmla="*/ 7626579 w 7626579"/>
              <a:gd name="connsiteY1-114" fmla="*/ 0 h 6818536"/>
              <a:gd name="connsiteX2-115" fmla="*/ 5368874 w 7626579"/>
              <a:gd name="connsiteY2-116" fmla="*/ 6817007 h 6818536"/>
              <a:gd name="connsiteX3-117" fmla="*/ 278 w 7626579"/>
              <a:gd name="connsiteY3-118" fmla="*/ 6818536 h 6818536"/>
              <a:gd name="connsiteX4-119" fmla="*/ 278 w 7626579"/>
              <a:gd name="connsiteY4-120" fmla="*/ 2985 h 681853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FFBE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Hero Light" panose="00000300000000000000" pitchFamily="50" charset="-52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743" y="327025"/>
            <a:ext cx="761820" cy="12636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743" y="327025"/>
            <a:ext cx="761820" cy="12636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5972" y="6202933"/>
            <a:ext cx="2134821" cy="487584"/>
          </a:xfrm>
          <a:prstGeom prst="rect">
            <a:avLst/>
          </a:prstGeom>
        </p:spPr>
      </p:pic>
      <p:sp>
        <p:nvSpPr>
          <p:cNvPr id="1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4481720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  <p:sp>
        <p:nvSpPr>
          <p:cNvPr id="16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657743" y="2363238"/>
            <a:ext cx="7833016" cy="280096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65" b="1">
                <a:solidFill>
                  <a:schemeClr val="tx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Кликните, чтобы добавить 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9">
    <p:bg>
      <p:bgPr>
        <a:solidFill>
          <a:srgbClr val="77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1892" y="6202934"/>
            <a:ext cx="2134821" cy="487581"/>
          </a:xfrm>
          <a:prstGeom prst="rect">
            <a:avLst/>
          </a:prstGeom>
        </p:spPr>
      </p:pic>
      <p:sp>
        <p:nvSpPr>
          <p:cNvPr id="10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598992" y="310797"/>
            <a:ext cx="10914497" cy="440101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933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Введите название презентации</a:t>
            </a:r>
            <a:endParaRPr lang="ru-RU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3343319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10">
    <p:bg>
      <p:bgPr>
        <a:solidFill>
          <a:srgbClr val="FF3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1892" y="6202934"/>
            <a:ext cx="2134821" cy="487581"/>
          </a:xfrm>
          <a:prstGeom prst="rect">
            <a:avLst/>
          </a:prstGeom>
        </p:spPr>
      </p:pic>
      <p:sp>
        <p:nvSpPr>
          <p:cNvPr id="6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598992" y="310797"/>
            <a:ext cx="10914497" cy="440101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933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Введите название презентации</a:t>
            </a:r>
            <a:endParaRPr lang="ru-RU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3343319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11">
    <p:bg>
      <p:bgPr>
        <a:solidFill>
          <a:srgbClr val="57D9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1892" y="6202934"/>
            <a:ext cx="2134821" cy="487581"/>
          </a:xfrm>
          <a:prstGeom prst="rect">
            <a:avLst/>
          </a:prstGeom>
        </p:spPr>
      </p:pic>
      <p:sp>
        <p:nvSpPr>
          <p:cNvPr id="6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598992" y="310797"/>
            <a:ext cx="10914497" cy="440101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933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Введите название презентации</a:t>
            </a:r>
            <a:endParaRPr lang="ru-RU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3343319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-11">
    <p:bg>
      <p:bgPr>
        <a:solidFill>
          <a:srgbClr val="75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1892" y="6202934"/>
            <a:ext cx="2134821" cy="487581"/>
          </a:xfrm>
          <a:prstGeom prst="rect">
            <a:avLst/>
          </a:prstGeom>
        </p:spPr>
      </p:pic>
      <p:sp>
        <p:nvSpPr>
          <p:cNvPr id="6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598992" y="310797"/>
            <a:ext cx="10914497" cy="440101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9335" b="1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r>
              <a:rPr lang="ru-RU" dirty="0"/>
              <a:t>Введите название презентации</a:t>
            </a:r>
            <a:endParaRPr lang="ru-RU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8285" y="3343319"/>
            <a:ext cx="5829300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5">
                <a:solidFill>
                  <a:schemeClr val="bg1"/>
                </a:solidFill>
                <a:latin typeface="Hero Light" panose="00000300000000000000" pitchFamily="50" charset="-52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ru-RU" dirty="0"/>
          </a:p>
        </p:txBody>
      </p:sp>
    </p:spTree>
  </p:cSld>
  <p:clrMapOvr>
    <a:masterClrMapping/>
  </p:clrMapOvr>
  <p:transition spd="med"/>
  <p:hf hd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1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3" Type="http://schemas.openxmlformats.org/officeDocument/2006/relationships/theme" Target="../theme/theme4.xml"/><Relationship Id="rId12" Type="http://schemas.openxmlformats.org/officeDocument/2006/relationships/image" Target="../media/image11.png"/><Relationship Id="rId11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hf hdr="0" dt="0"/>
  <p:txStyles>
    <p:title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1143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2286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3429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4572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5715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6858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8001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9144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</p:sldLayoutIdLst>
  <p:hf hdr="0" dt="0"/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0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endParaRPr lang="ru-RU" dirty="0"/>
          </a:p>
          <a:p>
            <a:pPr lvl="3"/>
            <a:r>
              <a:rPr lang="ru-RU" dirty="0"/>
              <a:t>Четвертый уровень</a:t>
            </a:r>
            <a:endParaRPr lang="ru-RU" dirty="0"/>
          </a:p>
          <a:p>
            <a:pPr lvl="4"/>
            <a:r>
              <a:rPr lang="ru-RU" dirty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fld id="{6B4A4562-BB08-2142-8017-9EEBEF468BE3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fld id="{C0A91B08-7AC1-6D4A-B34A-188C37328BB5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Hero Light" panose="00000300000000000000" pitchFamily="50" charset="-52"/>
          <a:ea typeface="+mj-ea"/>
          <a:cs typeface="+mj-cs"/>
        </a:defRPr>
      </a:lvl1pPr>
    </p:titleStyle>
    <p:bodyStyle>
      <a:lvl1pPr marL="128905" indent="-128905" algn="l" defTabSz="514350" rtl="0" eaLnBrk="1" latinLnBrk="0" hangingPunct="1">
        <a:lnSpc>
          <a:spcPct val="90000"/>
        </a:lnSpc>
        <a:spcBef>
          <a:spcPts val="565"/>
        </a:spcBef>
        <a:buFont typeface="Arial" panose="020B0604020202020204"/>
        <a:buChar char="•"/>
        <a:defRPr sz="1575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1pPr>
      <a:lvl2pPr marL="386080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35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2pPr>
      <a:lvl3pPr marL="643255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125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3pPr>
      <a:lvl4pPr marL="900430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4pPr>
      <a:lvl5pPr marL="1157605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5pPr>
      <a:lvl6pPr marL="1414780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671955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929130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186305" indent="-128905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>
            <a:lum/>
          </a:blip>
          <a:srcRect/>
          <a:stretch>
            <a:fillRect l="1000" t="2000" r="-32000" b="8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  <a:endParaRPr lang="ru-RU" dirty="0"/>
          </a:p>
          <a:p>
            <a:pPr lvl="1"/>
            <a:r>
              <a:rPr lang="ru-RU" dirty="0"/>
              <a:t>Второй уровень</a:t>
            </a:r>
            <a:endParaRPr lang="ru-RU" dirty="0"/>
          </a:p>
          <a:p>
            <a:pPr lvl="2"/>
            <a:r>
              <a:rPr lang="ru-RU" dirty="0"/>
              <a:t>Третий уровень</a:t>
            </a:r>
            <a:endParaRPr lang="ru-RU" dirty="0"/>
          </a:p>
          <a:p>
            <a:pPr lvl="3"/>
            <a:r>
              <a:rPr lang="ru-RU" dirty="0"/>
              <a:t>Четвертый уровень</a:t>
            </a:r>
            <a:endParaRPr lang="ru-RU" dirty="0"/>
          </a:p>
          <a:p>
            <a:pPr lvl="4"/>
            <a:r>
              <a:rPr lang="ru-RU" dirty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fld id="{1DF766BA-2B9F-480C-AE69-6218B3E15BCB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Hero Light" panose="00000300000000000000" pitchFamily="50" charset="-52"/>
              </a:defRPr>
            </a:lvl1pPr>
          </a:lstStyle>
          <a:p>
            <a:fld id="{C0A91B08-7AC1-6D4A-B34A-188C37328BB5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Hero Light" panose="00000300000000000000" pitchFamily="50" charset="-52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Hero Light" panose="00000300000000000000" pitchFamily="50" charset="-52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6.xml"/><Relationship Id="rId3" Type="http://schemas.openxmlformats.org/officeDocument/2006/relationships/image" Target="../media/image13.png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 t="5000" b="7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-180109" y="3807632"/>
            <a:ext cx="12496800" cy="638054"/>
          </a:xfrm>
        </p:spPr>
        <p:txBody>
          <a:bodyPr>
            <a:noAutofit/>
          </a:bodyPr>
          <a:lstStyle/>
          <a:p>
            <a:r>
              <a:rPr lang="en-US" altLang="en-US" sz="6400" dirty="0">
                <a:solidFill>
                  <a:srgbClr val="044485"/>
                </a:solidFill>
              </a:rPr>
              <a:t>Shadow Hacker</a:t>
            </a:r>
            <a:endParaRPr lang="en-US" altLang="en-US" sz="6400" dirty="0">
              <a:solidFill>
                <a:srgbClr val="044485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Идея проекта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371601"/>
            <a:ext cx="12192000" cy="94239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en-US" sz="32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История была написана, чтобы проиллюстрировать реальную жизнь молодого человека в возрасте около двадцати пяти лет, который имеет некоторые навыки проникновения и использует свои навыки в некоторых моральных и безнравственных действиях. События вращаются вокруг того, как он попадает в неприятности с плохими людьми, у которых много нелегальных предприятий, и он пытается привлечь их к ответственности.</a:t>
            </a:r>
            <a:endParaRPr lang="en-US" altLang="en-US" sz="3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Анализ конкурентов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510144"/>
            <a:ext cx="12192000" cy="117707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Фактически, рынок был хорошо изучен, поэтому мы создали кинематографическую идею, чтобы мы заставляли непосредственного игрока контролировать рамки кинематографических и вымышленных событий и заставляли их погружаться в мир истории инновационным способом. После поисков мы выяснили, что у нас нет конкурентов и мы не нашли аналогичный товар.</a:t>
            </a:r>
            <a:endParaRPr lang="ru-RU" sz="3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Цель проекта и задачи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3350" y="1639570"/>
            <a:ext cx="12192000" cy="53746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3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Цель проекта - внедрить в сознание молодых людей представление о том, что технические навыки хакеров и компьютеров должны быть использованы во благо и заставить их служить проводникам и нуждающимся и поддерживать закон.</a:t>
            </a:r>
            <a:endParaRPr lang="ru-RU" sz="33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Требования к продукту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289" y="1208463"/>
            <a:ext cx="12081164" cy="138941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Первое требование: короткий реалистичный рассказ, иллюстрирующий возможности, которых может достичь любой, обладающий достаточными знаниями в области информационной безопасности и этических взломов, с некоторой долей воображения писателя и драматической историей, чтобы связать события интересным образом.</a:t>
            </a:r>
            <a:endParaRPr lang="ru-RU" sz="24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---</a:t>
            </a:r>
            <a:endParaRPr lang="ru-RU" sz="24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Второе требование: Достижение цели проекта и привитие ее в сознании молодежи косвенным путем.</a:t>
            </a:r>
            <a:endParaRPr lang="ru-RU" sz="24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----</a:t>
            </a:r>
            <a:endParaRPr lang="ru-RU" sz="24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Третье требование: художественное оформление персонажей истории, потому что мы убеждены, что дизайн — это первый ключ к ясной передаче идеи</a:t>
            </a:r>
            <a:r>
              <a:rPr lang="ru-RU" sz="2400" dirty="0" smtClean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.</a:t>
            </a:r>
            <a:endParaRPr lang="ru-RU" sz="2400" dirty="0" smtClean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ar-EG" sz="2400" dirty="0" smtClean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------</a:t>
            </a:r>
            <a:endParaRPr lang="ar-EG" sz="2400" dirty="0" smtClean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Выполненные задачи: написание сценария и дизайн персонажей</a:t>
            </a:r>
            <a:endParaRPr lang="ru-RU" sz="24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Реализация проекта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70280" y="1510030"/>
            <a:ext cx="9783445" cy="465645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Успешное завершение проекта: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Проект был реализован эффективно за счет разделения на этапы и системного управления, что привело к достижению поставленных целей в требуемые сроки.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Улучшение пользовательского опыта: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Аналитика использовалась для выявления ключевых моментов улучшения, что привело к улучшению пользовательского опыта и повышению удовлетворенности.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Поддержка стратегических решений: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Результаты предоставили ценную информацию, которая помогла команде принять стратегические решения.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Заключение: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r>
              <a:rPr lang="en-US" altLang="en-US" sz="17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Проект был реализован индивидуально и с высокой эффективностью, сочетая навыки административного руководства с навыками анализа данных для достижения поставленных целей. Проект был разделен на этапы, и каждый этап тщательно контролировался, что позволило завершить проект в срок и достичь желаемых результатов.</a:t>
            </a:r>
            <a:endParaRPr lang="en-US" altLang="en-US" sz="17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Реализация проекта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3550" y="1529080"/>
            <a:ext cx="11794490" cy="546862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685800">
              <a:lnSpc>
                <a:spcPct val="90000"/>
              </a:lnSpc>
              <a:spcBef>
                <a:spcPts val="750"/>
              </a:spcBef>
            </a:pPr>
            <a:r>
              <a:rPr lang="en-US" altLang="en-US" sz="22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Дизайн: Персонажи и фоны были созданы с помощью Illustrator и Photoshop, а некоторые слои и детали были заимствованы из Интернета.</a:t>
            </a:r>
            <a:endParaRPr lang="en-US" altLang="en-US" sz="2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en-US" altLang="en-US" sz="2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r>
              <a:rPr lang="en-US" altLang="en-US" sz="22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Разработка: Я уже начал программировать на Renpy.</a:t>
            </a:r>
            <a:endParaRPr lang="en-US" altLang="en-US" sz="2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endParaRPr lang="en-US" altLang="en-US" sz="2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lvl="0" defTabSz="685800">
              <a:lnSpc>
                <a:spcPct val="90000"/>
              </a:lnSpc>
              <a:spcBef>
                <a:spcPts val="750"/>
              </a:spcBef>
            </a:pPr>
            <a:r>
              <a:rPr lang="en-US" altLang="en-US" sz="2200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Написание сценария: сценарий был написан, сюжет истории был написан, выражения лиц и реакции персонажей были соотнесены с событиями истории, и они были прописаны и четко связаны с событиями.</a:t>
            </a:r>
            <a:endParaRPr lang="en-US" altLang="en-US" sz="2200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4808" y="238192"/>
            <a:ext cx="7134420" cy="530195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>
                <a:solidFill>
                  <a:srgbClr val="044485"/>
                </a:solidFill>
              </a:rPr>
              <a:t>Реализация проекта</a:t>
            </a:r>
            <a:endParaRPr lang="ru-RU" b="1" dirty="0">
              <a:solidFill>
                <a:srgbClr val="04448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816747" y="1411804"/>
            <a:ext cx="7886700" cy="10328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Здесь будет демонстрация новеллы</a:t>
            </a:r>
            <a:r>
              <a:rPr lang="ar-EG" altLang="en-US" dirty="0">
                <a:solidFill>
                  <a:srgbClr val="044485"/>
                </a:solidFill>
                <a:latin typeface="Times New Roman" panose="02020603050405020304" charset="0"/>
                <a:cs typeface="Times New Roman" panose="02020603050405020304" charset="0"/>
              </a:rPr>
              <a:t>:</a:t>
            </a:r>
            <a:endParaRPr lang="en-US" altLang="en-US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marL="0" indent="0">
              <a:buNone/>
            </a:pPr>
            <a:endParaRPr lang="en-US" altLang="en-US" dirty="0">
              <a:solidFill>
                <a:srgbClr val="044485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89860" y="6349225"/>
            <a:ext cx="2057400" cy="365125"/>
          </a:xfrm>
        </p:spPr>
        <p:txBody>
          <a:bodyPr/>
          <a:lstStyle/>
          <a:p>
            <a:fld id="{C0A91B08-7AC1-6D4A-B34A-188C37328BB5}" type="slidenum">
              <a:rPr lang="ru-RU" sz="2000">
                <a:solidFill>
                  <a:prstClr val="black">
                    <a:lumMod val="65000"/>
                    <a:lumOff val="35000"/>
                  </a:prstClr>
                </a:solidFill>
              </a:rPr>
            </a:fld>
            <a:endParaRPr lang="ru-RU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8545" y="2590800"/>
            <a:ext cx="11790219" cy="375842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endParaRPr lang="ar-EG" dirty="0"/>
          </a:p>
        </p:txBody>
      </p:sp>
      <p:pic>
        <p:nvPicPr>
          <p:cNvPr id="10" name="hacker trerp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1736725" y="2720975"/>
            <a:ext cx="8609965" cy="26898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 fullScrn="0">
              <p:cMediaNode>
                <p:cTn id="2" fill="hold" display="1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pamOOWf2fYUmAhOUbDOOWMA"/>
</p:tagLst>
</file>

<file path=ppt/tags/tag3.xml><?xml version="1.0" encoding="utf-8"?>
<p:tagLst xmlns:p="http://schemas.openxmlformats.org/presentationml/2006/main">
  <p:tag name="THINKCELLSHAPEDONOTDELETE" val="pGzHXOcS7JESrlYq3CkqthQ"/>
</p:tagLst>
</file>

<file path=ppt/tags/tag4.xml><?xml version="1.0" encoding="utf-8"?>
<p:tagLst xmlns:p="http://schemas.openxmlformats.org/presentationml/2006/main">
  <p:tag name="THINKCELLSHAPEDONOTDELETE" val="pPWTFvK24g0qBI2XVFEHRow"/>
</p:tagLst>
</file>

<file path=ppt/tags/tag5.xml><?xml version="1.0" encoding="utf-8"?>
<p:tagLst xmlns:p="http://schemas.openxmlformats.org/presentationml/2006/main">
  <p:tag name="THINKCELLSHAPEDONOTDELETE" val="pepfotq5FVkyUp4LZRP_Bug"/>
</p:tagLst>
</file>

<file path=ppt/theme/theme1.xml><?xml version="1.0" encoding="utf-8"?>
<a:theme xmlns:a="http://schemas.openxmlformats.org/drawingml/2006/main" name="Обложки презентаций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 РТК">
  <a:themeElements>
    <a:clrScheme name="РТ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AAE7"/>
      </a:accent1>
      <a:accent2>
        <a:srgbClr val="F58220"/>
      </a:accent2>
      <a:accent3>
        <a:srgbClr val="6DCFF6"/>
      </a:accent3>
      <a:accent4>
        <a:srgbClr val="FFA61A"/>
      </a:accent4>
      <a:accent5>
        <a:srgbClr val="CCCCCC"/>
      </a:accent5>
      <a:accent6>
        <a:srgbClr val="F2F2F2"/>
      </a:accent6>
      <a:hlink>
        <a:srgbClr val="D8D8D8"/>
      </a:hlink>
      <a:folHlink>
        <a:srgbClr val="D8D8D8"/>
      </a:folHlink>
    </a:clrScheme>
    <a:fontScheme name="РТК">
      <a:majorFont>
        <a:latin typeface="Chevin Pro Thin"/>
        <a:ea typeface=""/>
        <a:cs typeface=""/>
      </a:majorFont>
      <a:minorFont>
        <a:latin typeface="DIN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rmAutofit fontScale="32500" lnSpcReduction="20000"/>
      </a:bodyPr>
      <a:lstStyle>
        <a:defPPr>
          <a:defRPr dirty="0" err="1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B998FE7AFBF5D4EA6940B76CBD657D0" ma:contentTypeVersion="2" ma:contentTypeDescription="Создание документа." ma:contentTypeScope="" ma:versionID="2f7c81852210201ea140dca782fab3a3">
  <xsd:schema xmlns:xsd="http://www.w3.org/2001/XMLSchema" xmlns:xs="http://www.w3.org/2001/XMLSchema" xmlns:p="http://schemas.microsoft.com/office/2006/metadata/properties" xmlns:ns2="b441f8c2-c3e1-4783-b795-f73d84561117" targetNamespace="http://schemas.microsoft.com/office/2006/metadata/properties" ma:root="true" ma:fieldsID="2b9cb4908330af27f7af05ce324947b1" ns2:_="">
    <xsd:import namespace="b441f8c2-c3e1-4783-b795-f73d845611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41f8c2-c3e1-4783-b795-f73d845611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6.xml><?xml version="1.0" encoding="utf-8"?>
<ds:datastoreItem xmlns:ds="http://schemas.openxmlformats.org/officeDocument/2006/customXml" ds:itemID="{27240B4A-26EC-4034-8EAB-7D57C8F167D9}">
  <ds:schemaRefs/>
</ds:datastoreItem>
</file>

<file path=customXml/itemProps7.xml><?xml version="1.0" encoding="utf-8"?>
<ds:datastoreItem xmlns:ds="http://schemas.openxmlformats.org/officeDocument/2006/customXml" ds:itemID="{FD61A96C-FF0B-43C7-80D1-A06817E7B3EB}">
  <ds:schemaRefs/>
</ds:datastoreItem>
</file>

<file path=customXml/itemProps8.xml><?xml version="1.0" encoding="utf-8"?>
<ds:datastoreItem xmlns:ds="http://schemas.openxmlformats.org/officeDocument/2006/customXml" ds:itemID="{A50EE67F-F544-4CD2-850C-D24D740885C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7</Words>
  <Application>WPS Presentation</Application>
  <PresentationFormat>Widescreen</PresentationFormat>
  <Paragraphs>64</Paragraphs>
  <Slides>8</Slides>
  <Notes>9</Notes>
  <HiddenSlides>0</HiddenSlides>
  <MMClips>1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7" baseType="lpstr">
      <vt:lpstr>Arial</vt:lpstr>
      <vt:lpstr>SimSun</vt:lpstr>
      <vt:lpstr>Wingdings</vt:lpstr>
      <vt:lpstr>Helvetica Neue Medium</vt:lpstr>
      <vt:lpstr>Helvetica Neue</vt:lpstr>
      <vt:lpstr>Helvetica Neue Light</vt:lpstr>
      <vt:lpstr>Hero Light</vt:lpstr>
      <vt:lpstr>Segoe Print</vt:lpstr>
      <vt:lpstr>Arial</vt:lpstr>
      <vt:lpstr>Microsoft YaHei</vt:lpstr>
      <vt:lpstr>Arial Unicode MS</vt:lpstr>
      <vt:lpstr>Times New Roman</vt:lpstr>
      <vt:lpstr>Calibri Light</vt:lpstr>
      <vt:lpstr>Calibri</vt:lpstr>
      <vt:lpstr>Обложки презентаций</vt:lpstr>
      <vt:lpstr>Шаблон РТК</vt:lpstr>
      <vt:lpstr>1_Тема Office</vt:lpstr>
      <vt:lpstr>2_Тема Office</vt:lpstr>
      <vt:lpstr>TCLayout.ActiveDocument.1</vt:lpstr>
      <vt:lpstr>Shadow Hacker</vt:lpstr>
      <vt:lpstr>Идея проекта</vt:lpstr>
      <vt:lpstr>Анализ конкурентов</vt:lpstr>
      <vt:lpstr>Цель проекта и задачи</vt:lpstr>
      <vt:lpstr>Требования к продукту</vt:lpstr>
      <vt:lpstr>Реализация проекта</vt:lpstr>
      <vt:lpstr>Реализация проекта</vt:lpstr>
      <vt:lpstr>Реализация проект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Mohamed Ayman</cp:lastModifiedBy>
  <cp:revision>47</cp:revision>
  <dcterms:created xsi:type="dcterms:W3CDTF">2021-12-01T01:36:00Z</dcterms:created>
  <dcterms:modified xsi:type="dcterms:W3CDTF">2025-03-20T12:0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998FE7AFBF5D4EA6940B76CBD657D0</vt:lpwstr>
  </property>
  <property fmtid="{D5CDD505-2E9C-101B-9397-08002B2CF9AE}" pid="3" name="ICV">
    <vt:lpwstr>3B737D1BD0EE42948F1E0CAFFCFAC656_13</vt:lpwstr>
  </property>
  <property fmtid="{D5CDD505-2E9C-101B-9397-08002B2CF9AE}" pid="4" name="KSOProductBuildVer">
    <vt:lpwstr>1033-12.2.0.20326</vt:lpwstr>
  </property>
</Properties>
</file>